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wav" ContentType="audio/wav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25"/>
  </p:notesMasterIdLst>
  <p:handoutMasterIdLst>
    <p:handoutMasterId r:id="rId26"/>
  </p:handoutMasterIdLst>
  <p:sldIdLst>
    <p:sldId id="419" r:id="rId2"/>
    <p:sldId id="420" r:id="rId3"/>
    <p:sldId id="422" r:id="rId4"/>
    <p:sldId id="425" r:id="rId5"/>
    <p:sldId id="424" r:id="rId6"/>
    <p:sldId id="427" r:id="rId7"/>
    <p:sldId id="428" r:id="rId8"/>
    <p:sldId id="429" r:id="rId9"/>
    <p:sldId id="430" r:id="rId10"/>
    <p:sldId id="431" r:id="rId11"/>
    <p:sldId id="432" r:id="rId12"/>
    <p:sldId id="433" r:id="rId13"/>
    <p:sldId id="434" r:id="rId14"/>
    <p:sldId id="435" r:id="rId15"/>
    <p:sldId id="436" r:id="rId16"/>
    <p:sldId id="437" r:id="rId17"/>
    <p:sldId id="438" r:id="rId18"/>
    <p:sldId id="439" r:id="rId19"/>
    <p:sldId id="440" r:id="rId20"/>
    <p:sldId id="441" r:id="rId21"/>
    <p:sldId id="443" r:id="rId22"/>
    <p:sldId id="444" r:id="rId23"/>
    <p:sldId id="445" r:id="rId24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296" userDrawn="1">
          <p15:clr>
            <a:srgbClr val="A4A3A4"/>
          </p15:clr>
        </p15:guide>
        <p15:guide id="2" pos="1413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43434"/>
    <a:srgbClr val="000000"/>
    <a:srgbClr val="66C7EE"/>
    <a:srgbClr val="E1D6BC"/>
    <a:srgbClr val="142F4E"/>
    <a:srgbClr val="CCECF9"/>
    <a:srgbClr val="FFFFFF"/>
    <a:srgbClr val="99D9F4"/>
    <a:srgbClr val="E9E9E9"/>
    <a:srgbClr val="9E9E9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xmlns="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3" autoAdjust="0"/>
    <p:restoredTop sz="94672" autoAdjust="0"/>
  </p:normalViewPr>
  <p:slideViewPr>
    <p:cSldViewPr snapToGrid="0" showGuides="1">
      <p:cViewPr>
        <p:scale>
          <a:sx n="88" d="100"/>
          <a:sy n="88" d="100"/>
        </p:scale>
        <p:origin x="-437" y="-58"/>
      </p:cViewPr>
      <p:guideLst>
        <p:guide orient="horz" pos="2296"/>
        <p:guide pos="1413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50" d="100"/>
        <a:sy n="50" d="100"/>
      </p:scale>
      <p:origin x="0" y="0"/>
    </p:cViewPr>
  </p:sorterViewPr>
  <p:notesViewPr>
    <p:cSldViewPr snapToGrid="0">
      <p:cViewPr varScale="1">
        <p:scale>
          <a:sx n="124" d="100"/>
          <a:sy n="124" d="100"/>
        </p:scale>
        <p:origin x="4950" y="9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handoutMaster" Target="handoutMasters/handoutMaster1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7C3128C-A0EC-4FBB-83BF-DF1CD5892743}" type="datetimeFigureOut">
              <a:rPr lang="de-DE" smtClean="0"/>
              <a:t>28.09.2021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5576EA1-6889-4141-AFB9-7E1338531BFD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596748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IN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A8220DD-F815-4785-A1B2-3510446CFE34}" type="datetimeFigureOut">
              <a:rPr lang="en-IN" smtClean="0"/>
              <a:t>28-09-2021</a:t>
            </a:fld>
            <a:endParaRPr lang="en-IN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IN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IN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3FF3364-A7DB-4F6B-AEA5-975291C6CB3C}" type="slidenum">
              <a:rPr lang="en-IN" smtClean="0"/>
              <a:t>‹Nr.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70746813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3FF3364-A7DB-4F6B-AEA5-975291C6CB3C}" type="slidenum">
              <a:rPr lang="en-IN" smtClean="0"/>
              <a:t>1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38149239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_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BF5F9214-F451-477A-B617-5C74A4CD23D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1122363"/>
            <a:ext cx="9144000" cy="2387600"/>
          </a:xfrm>
          <a:prstGeom prst="rect">
            <a:avLst/>
          </a:prstGeom>
        </p:spPr>
        <p:txBody>
          <a:bodyPr anchor="b"/>
          <a:lstStyle>
            <a:lvl1pPr algn="ctr">
              <a:defRPr sz="6000" b="0" i="0">
                <a:latin typeface="Roboto Bold" panose="02000000000000000000" pitchFamily="2" charset="0"/>
                <a:ea typeface="Roboto Bold" panose="02000000000000000000" pitchFamily="2" charset="0"/>
              </a:defRPr>
            </a:lvl1pPr>
          </a:lstStyle>
          <a:p>
            <a:r>
              <a:rPr lang="en-US" dirty="0" err="1"/>
              <a:t>Veranstaltungstitel</a:t>
            </a:r>
            <a:endParaRPr lang="en-IN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xmlns="" id="{A446D049-F822-4B92-BFB6-EE0B8087C4C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02038"/>
            <a:ext cx="9144000" cy="165576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 baseline="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Name | </a:t>
            </a:r>
            <a:r>
              <a:rPr lang="en-US" dirty="0" err="1"/>
              <a:t>Sommersemester</a:t>
            </a:r>
            <a:r>
              <a:rPr lang="en-US" dirty="0"/>
              <a:t> 20/21</a:t>
            </a:r>
            <a:endParaRPr lang="en-IN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2A015C8F-4B03-4CAB-938B-829BF3912EA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A1110BE-A5D8-4C06-9CB1-4FB89613DA60}" type="datetimeFigureOut">
              <a:rPr lang="en-IN" smtClean="0"/>
              <a:t>28-09-2021</a:t>
            </a:fld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A4B34EB5-5905-4004-9361-2CA7FD68158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51482FF6-A66B-48BE-88D8-FC37E170B75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72AEF7-1C8C-4F27-9F91-265614AC2E4C}" type="slidenum">
              <a:rPr lang="en-IN" smtClean="0"/>
              <a:t>‹Nr.›</a:t>
            </a:fld>
            <a:endParaRPr lang="en-IN"/>
          </a:p>
        </p:txBody>
      </p:sp>
      <p:sp>
        <p:nvSpPr>
          <p:cNvPr id="7" name="Abgerundetes Rechteck 6"/>
          <p:cNvSpPr/>
          <p:nvPr userDrawn="1"/>
        </p:nvSpPr>
        <p:spPr>
          <a:xfrm>
            <a:off x="9266861" y="4652186"/>
            <a:ext cx="4258491" cy="1876302"/>
          </a:xfrm>
          <a:prstGeom prst="round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8" name="Grafik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52356" y="4872116"/>
            <a:ext cx="2102613" cy="14416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0971366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Überschrift und Kreise mit Text_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5E8BE331-C93C-4A62-8706-E5CDAF2B355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6000" y="576000"/>
            <a:ext cx="10515600" cy="427877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3200" baseline="0">
                <a:solidFill>
                  <a:srgbClr val="FFFFFF"/>
                </a:solidFill>
                <a:latin typeface="Roboto Medium" panose="02000000000000000000" pitchFamily="2" charset="0"/>
                <a:ea typeface="Roboto Medium" panose="02000000000000000000" pitchFamily="2" charset="0"/>
              </a:defRPr>
            </a:lvl1pPr>
          </a:lstStyle>
          <a:p>
            <a:r>
              <a:rPr lang="en-US" dirty="0" err="1"/>
              <a:t>Hier</a:t>
            </a:r>
            <a:r>
              <a:rPr lang="en-US" dirty="0"/>
              <a:t> </a:t>
            </a:r>
            <a:r>
              <a:rPr lang="en-US" dirty="0" err="1"/>
              <a:t>könnte</a:t>
            </a:r>
            <a:r>
              <a:rPr lang="en-US" dirty="0"/>
              <a:t> </a:t>
            </a:r>
            <a:r>
              <a:rPr lang="en-US" dirty="0" err="1"/>
              <a:t>Ihre</a:t>
            </a:r>
            <a:r>
              <a:rPr lang="en-US" dirty="0"/>
              <a:t> </a:t>
            </a:r>
            <a:r>
              <a:rPr lang="en-US" dirty="0" err="1"/>
              <a:t>Überschrift</a:t>
            </a:r>
            <a:r>
              <a:rPr lang="en-US" dirty="0"/>
              <a:t> </a:t>
            </a:r>
            <a:r>
              <a:rPr lang="en-US" dirty="0" err="1"/>
              <a:t>stehen</a:t>
            </a:r>
            <a:endParaRPr lang="en-IN" dirty="0"/>
          </a:p>
        </p:txBody>
      </p:sp>
      <p:sp>
        <p:nvSpPr>
          <p:cNvPr id="12" name="Freeform: Shape 7696"/>
          <p:cNvSpPr/>
          <p:nvPr userDrawn="1"/>
        </p:nvSpPr>
        <p:spPr>
          <a:xfrm rot="4800">
            <a:off x="1539031" y="1834296"/>
            <a:ext cx="2180965" cy="2183910"/>
          </a:xfrm>
          <a:custGeom>
            <a:avLst/>
            <a:gdLst/>
            <a:ahLst/>
            <a:cxnLst>
              <a:cxn ang="3cd4">
                <a:pos x="hc" y="t"/>
              </a:cxn>
              <a:cxn ang="cd2">
                <a:pos x="l" y="vc"/>
              </a:cxn>
              <a:cxn ang="cd4">
                <a:pos x="hc" y="b"/>
              </a:cxn>
              <a:cxn ang="0">
                <a:pos x="r" y="vc"/>
              </a:cxn>
            </a:cxnLst>
            <a:rect l="l" t="t" r="r" b="b"/>
            <a:pathLst>
              <a:path w="742" h="743">
                <a:moveTo>
                  <a:pt x="742" y="372"/>
                </a:moveTo>
                <a:cubicBezTo>
                  <a:pt x="742" y="577"/>
                  <a:pt x="576" y="743"/>
                  <a:pt x="371" y="743"/>
                </a:cubicBezTo>
                <a:cubicBezTo>
                  <a:pt x="166" y="743"/>
                  <a:pt x="0" y="577"/>
                  <a:pt x="0" y="372"/>
                </a:cubicBezTo>
                <a:cubicBezTo>
                  <a:pt x="0" y="166"/>
                  <a:pt x="166" y="0"/>
                  <a:pt x="371" y="0"/>
                </a:cubicBezTo>
                <a:cubicBezTo>
                  <a:pt x="576" y="0"/>
                  <a:pt x="742" y="166"/>
                  <a:pt x="742" y="372"/>
                </a:cubicBezTo>
                <a:close/>
              </a:path>
            </a:pathLst>
          </a:custGeom>
          <a:solidFill>
            <a:schemeClr val="accent1"/>
          </a:solidFill>
          <a:ln cap="flat">
            <a:noFill/>
            <a:prstDash val="solid"/>
          </a:ln>
        </p:spPr>
        <p:txBody>
          <a:bodyPr vert="horz" wrap="none" lIns="45000" tIns="22500" rIns="45000" bIns="22500" anchor="ctr" anchorCtr="1" compatLnSpc="0"/>
          <a:lstStyle/>
          <a:p>
            <a:pPr hangingPunct="0"/>
            <a:endParaRPr lang="en-US" sz="900">
              <a:latin typeface="Arial" pitchFamily="18"/>
              <a:ea typeface="Arial Unicode MS" pitchFamily="2"/>
              <a:cs typeface="Arial Unicode MS" pitchFamily="2"/>
            </a:endParaRPr>
          </a:p>
        </p:txBody>
      </p:sp>
      <p:sp>
        <p:nvSpPr>
          <p:cNvPr id="13" name="Freeform: Shape 7697"/>
          <p:cNvSpPr/>
          <p:nvPr userDrawn="1"/>
        </p:nvSpPr>
        <p:spPr>
          <a:xfrm rot="4800">
            <a:off x="4425731" y="3405244"/>
            <a:ext cx="2183908" cy="2183910"/>
          </a:xfrm>
          <a:custGeom>
            <a:avLst/>
            <a:gdLst/>
            <a:ahLst/>
            <a:cxnLst>
              <a:cxn ang="3cd4">
                <a:pos x="hc" y="t"/>
              </a:cxn>
              <a:cxn ang="cd2">
                <a:pos x="l" y="vc"/>
              </a:cxn>
              <a:cxn ang="cd4">
                <a:pos x="hc" y="b"/>
              </a:cxn>
              <a:cxn ang="0">
                <a:pos x="r" y="vc"/>
              </a:cxn>
            </a:cxnLst>
            <a:rect l="l" t="t" r="r" b="b"/>
            <a:pathLst>
              <a:path w="743" h="743">
                <a:moveTo>
                  <a:pt x="743" y="372"/>
                </a:moveTo>
                <a:cubicBezTo>
                  <a:pt x="743" y="577"/>
                  <a:pt x="576" y="743"/>
                  <a:pt x="371" y="743"/>
                </a:cubicBezTo>
                <a:cubicBezTo>
                  <a:pt x="166" y="743"/>
                  <a:pt x="0" y="577"/>
                  <a:pt x="0" y="372"/>
                </a:cubicBezTo>
                <a:cubicBezTo>
                  <a:pt x="0" y="167"/>
                  <a:pt x="166" y="0"/>
                  <a:pt x="371" y="0"/>
                </a:cubicBezTo>
                <a:cubicBezTo>
                  <a:pt x="576" y="0"/>
                  <a:pt x="743" y="167"/>
                  <a:pt x="743" y="372"/>
                </a:cubicBezTo>
                <a:close/>
              </a:path>
            </a:pathLst>
          </a:custGeom>
          <a:solidFill>
            <a:schemeClr val="accent2"/>
          </a:solidFill>
          <a:ln cap="flat">
            <a:noFill/>
            <a:prstDash val="solid"/>
          </a:ln>
        </p:spPr>
        <p:txBody>
          <a:bodyPr vert="horz" wrap="none" lIns="45000" tIns="22500" rIns="45000" bIns="22500" anchor="ctr" anchorCtr="1" compatLnSpc="0"/>
          <a:lstStyle/>
          <a:p>
            <a:pPr hangingPunct="0"/>
            <a:endParaRPr lang="en-US" sz="900">
              <a:latin typeface="Arial" pitchFamily="18"/>
              <a:ea typeface="Arial Unicode MS" pitchFamily="2"/>
              <a:cs typeface="Arial Unicode MS" pitchFamily="2"/>
            </a:endParaRPr>
          </a:p>
        </p:txBody>
      </p:sp>
      <p:sp>
        <p:nvSpPr>
          <p:cNvPr id="14" name="Freeform: Shape 7698"/>
          <p:cNvSpPr/>
          <p:nvPr userDrawn="1"/>
        </p:nvSpPr>
        <p:spPr>
          <a:xfrm rot="4800">
            <a:off x="7316429" y="1829922"/>
            <a:ext cx="2183908" cy="2183910"/>
          </a:xfrm>
          <a:custGeom>
            <a:avLst/>
            <a:gdLst/>
            <a:ahLst/>
            <a:cxnLst>
              <a:cxn ang="3cd4">
                <a:pos x="hc" y="t"/>
              </a:cxn>
              <a:cxn ang="cd2">
                <a:pos x="l" y="vc"/>
              </a:cxn>
              <a:cxn ang="cd4">
                <a:pos x="hc" y="b"/>
              </a:cxn>
              <a:cxn ang="0">
                <a:pos x="r" y="vc"/>
              </a:cxn>
            </a:cxnLst>
            <a:rect l="l" t="t" r="r" b="b"/>
            <a:pathLst>
              <a:path w="743" h="743">
                <a:moveTo>
                  <a:pt x="743" y="371"/>
                </a:moveTo>
                <a:cubicBezTo>
                  <a:pt x="743" y="576"/>
                  <a:pt x="576" y="743"/>
                  <a:pt x="371" y="743"/>
                </a:cubicBezTo>
                <a:cubicBezTo>
                  <a:pt x="166" y="743"/>
                  <a:pt x="0" y="576"/>
                  <a:pt x="0" y="371"/>
                </a:cubicBezTo>
                <a:cubicBezTo>
                  <a:pt x="0" y="166"/>
                  <a:pt x="166" y="0"/>
                  <a:pt x="371" y="0"/>
                </a:cubicBezTo>
                <a:cubicBezTo>
                  <a:pt x="576" y="0"/>
                  <a:pt x="743" y="166"/>
                  <a:pt x="743" y="371"/>
                </a:cubicBezTo>
                <a:close/>
              </a:path>
            </a:pathLst>
          </a:custGeom>
          <a:solidFill>
            <a:schemeClr val="accent3"/>
          </a:solidFill>
          <a:ln cap="flat">
            <a:noFill/>
            <a:prstDash val="solid"/>
          </a:ln>
        </p:spPr>
        <p:txBody>
          <a:bodyPr vert="horz" wrap="none" lIns="45000" tIns="22500" rIns="45000" bIns="22500" anchor="ctr" anchorCtr="1" compatLnSpc="0"/>
          <a:lstStyle/>
          <a:p>
            <a:pPr hangingPunct="0"/>
            <a:endParaRPr lang="en-US" sz="900">
              <a:latin typeface="Arial" pitchFamily="18"/>
              <a:ea typeface="Arial Unicode MS" pitchFamily="2"/>
              <a:cs typeface="Arial Unicode MS" pitchFamily="2"/>
            </a:endParaRPr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xmlns="" id="{A446D049-F822-4B92-BFB6-EE0B8087C4C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746700" y="2277457"/>
            <a:ext cx="1753899" cy="330864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lang="en-IN" sz="2000" b="1" kern="1200" baseline="0" dirty="0">
                <a:solidFill>
                  <a:schemeClr val="tx1"/>
                </a:solidFill>
                <a:latin typeface="Roboto Cn" pitchFamily="2" charset="0"/>
                <a:ea typeface="Roboto Cn" pitchFamily="2" charset="0"/>
                <a:cs typeface="+mn-cs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 err="1"/>
              <a:t>Punkt</a:t>
            </a:r>
            <a:r>
              <a:rPr lang="en-US" dirty="0"/>
              <a:t> 01</a:t>
            </a:r>
            <a:endParaRPr lang="en-IN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1" hasCustomPrompt="1"/>
          </p:nvPr>
        </p:nvSpPr>
        <p:spPr>
          <a:xfrm>
            <a:off x="7445331" y="2277457"/>
            <a:ext cx="1918767" cy="330655"/>
          </a:xfrm>
          <a:prstGeom prst="rect">
            <a:avLst/>
          </a:prstGeom>
        </p:spPr>
        <p:txBody>
          <a:bodyPr/>
          <a:lstStyle>
            <a:lvl1pPr marL="0" indent="0" algn="ctr">
              <a:buFontTx/>
              <a:buNone/>
              <a:defRPr lang="de-DE" sz="2000" b="1" kern="1200" baseline="0" dirty="0" smtClean="0">
                <a:solidFill>
                  <a:srgbClr val="002B6A"/>
                </a:solidFill>
                <a:latin typeface="Roboto Cn" pitchFamily="2" charset="0"/>
                <a:ea typeface="Roboto Cn" pitchFamily="2" charset="0"/>
                <a:cs typeface="+mn-cs"/>
              </a:defRPr>
            </a:lvl1pPr>
            <a:lvl2pPr marL="457200" indent="0">
              <a:buFontTx/>
              <a:buNone/>
              <a:defRPr lang="de-DE" sz="2000" kern="1200" baseline="0" dirty="0" smtClean="0">
                <a:solidFill>
                  <a:schemeClr val="accent5"/>
                </a:solidFill>
                <a:latin typeface="Roboto Cn" pitchFamily="2" charset="0"/>
                <a:ea typeface="Roboto Cn" pitchFamily="2" charset="0"/>
                <a:cs typeface="+mn-cs"/>
              </a:defRPr>
            </a:lvl2pPr>
            <a:lvl3pPr>
              <a:buFontTx/>
              <a:buNone/>
              <a:defRPr lang="de-DE" sz="2000" kern="1200" baseline="0" dirty="0" smtClean="0">
                <a:solidFill>
                  <a:schemeClr val="accent5"/>
                </a:solidFill>
                <a:latin typeface="Roboto Cn" pitchFamily="2" charset="0"/>
                <a:ea typeface="Roboto Cn" pitchFamily="2" charset="0"/>
                <a:cs typeface="+mn-cs"/>
              </a:defRPr>
            </a:lvl3pPr>
            <a:lvl4pPr marL="1371600" indent="0">
              <a:buFontTx/>
              <a:buNone/>
              <a:defRPr lang="de-DE" sz="2000" kern="1200" baseline="0" dirty="0" smtClean="0">
                <a:solidFill>
                  <a:schemeClr val="accent5"/>
                </a:solidFill>
                <a:latin typeface="Roboto Cn" pitchFamily="2" charset="0"/>
                <a:ea typeface="Roboto Cn" pitchFamily="2" charset="0"/>
                <a:cs typeface="+mn-cs"/>
              </a:defRPr>
            </a:lvl4pPr>
            <a:lvl5pPr marL="1828800" indent="0">
              <a:buFontTx/>
              <a:buNone/>
              <a:defRPr lang="de-DE" sz="2000" kern="1200" baseline="0" dirty="0">
                <a:solidFill>
                  <a:schemeClr val="accent5"/>
                </a:solidFill>
                <a:latin typeface="Roboto Cn" pitchFamily="2" charset="0"/>
                <a:ea typeface="Roboto Cn" pitchFamily="2" charset="0"/>
                <a:cs typeface="+mn-cs"/>
              </a:defRPr>
            </a:lvl5pPr>
          </a:lstStyle>
          <a:p>
            <a:pPr lvl="0"/>
            <a:r>
              <a:rPr lang="de-DE" dirty="0"/>
              <a:t>Punkt 03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0" hasCustomPrompt="1"/>
          </p:nvPr>
        </p:nvSpPr>
        <p:spPr>
          <a:xfrm>
            <a:off x="1551025" y="2694227"/>
            <a:ext cx="2160000" cy="1080000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ts val="2400"/>
              </a:lnSpc>
              <a:buSzPct val="65000"/>
              <a:buFontTx/>
              <a:buNone/>
              <a:tabLst>
                <a:tab pos="1704975" algn="l"/>
              </a:tabLst>
              <a:defRPr lang="de-DE" sz="1600" kern="1200" baseline="0" dirty="0" err="1" smtClean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+mn-cs"/>
              </a:defRPr>
            </a:lvl1pPr>
            <a:lvl2pPr marL="457200" indent="0">
              <a:buFontTx/>
              <a:buNone/>
              <a:defRPr lang="de-DE" sz="1600" kern="1200" dirty="0" smtClean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+mn-cs"/>
              </a:defRPr>
            </a:lvl2pPr>
            <a:lvl3pPr>
              <a:buFontTx/>
              <a:buNone/>
              <a:defRPr lang="de-DE" sz="1600" kern="1200" dirty="0" smtClean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+mn-cs"/>
              </a:defRPr>
            </a:lvl3pPr>
            <a:lvl4pPr marL="1371600" indent="0">
              <a:buFontTx/>
              <a:buNone/>
              <a:defRPr lang="de-DE" sz="1600" kern="1200" dirty="0" smtClean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+mn-cs"/>
              </a:defRPr>
            </a:lvl4pPr>
            <a:lvl5pPr marL="1828800" indent="0">
              <a:buFontTx/>
              <a:buNone/>
              <a:defRPr lang="de-DE" sz="1600" kern="12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+mn-cs"/>
              </a:defRPr>
            </a:lvl5pPr>
          </a:lstStyle>
          <a:p>
            <a:pPr lvl="0"/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Zwei- oder dreizeiliger Beispieltext für</a:t>
            </a:r>
            <a:b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</a:b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Information im Kreis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6" hasCustomPrompt="1"/>
          </p:nvPr>
        </p:nvSpPr>
        <p:spPr>
          <a:xfrm>
            <a:off x="4563248" y="3802958"/>
            <a:ext cx="1878659" cy="333279"/>
          </a:xfrm>
          <a:prstGeom prst="rect">
            <a:avLst/>
          </a:prstGeom>
        </p:spPr>
        <p:txBody>
          <a:bodyPr/>
          <a:lstStyle>
            <a:lvl1pPr marL="0" indent="0" algn="ctr">
              <a:buFontTx/>
              <a:buNone/>
              <a:defRPr lang="en-IN" sz="2000" b="1" kern="1200" baseline="0" dirty="0">
                <a:solidFill>
                  <a:schemeClr val="tx1"/>
                </a:solidFill>
                <a:latin typeface="Roboto Cn" pitchFamily="2" charset="0"/>
                <a:ea typeface="Roboto Cn" pitchFamily="2" charset="0"/>
                <a:cs typeface="+mn-cs"/>
              </a:defRPr>
            </a:lvl1pPr>
          </a:lstStyle>
          <a:p>
            <a:r>
              <a:rPr lang="en-US" dirty="0" err="1"/>
              <a:t>Punkt</a:t>
            </a:r>
            <a:r>
              <a:rPr lang="en-US" dirty="0"/>
              <a:t> 02</a:t>
            </a:r>
            <a:endParaRPr lang="en-IN" dirty="0"/>
          </a:p>
        </p:txBody>
      </p:sp>
      <p:sp>
        <p:nvSpPr>
          <p:cNvPr id="20" name="Textplatzhalter 19"/>
          <p:cNvSpPr>
            <a:spLocks noGrp="1"/>
          </p:cNvSpPr>
          <p:nvPr>
            <p:ph type="body" sz="quarter" idx="17" hasCustomPrompt="1"/>
          </p:nvPr>
        </p:nvSpPr>
        <p:spPr>
          <a:xfrm>
            <a:off x="4424207" y="4276575"/>
            <a:ext cx="2160000" cy="1080000"/>
          </a:xfrm>
          <a:prstGeom prst="rect">
            <a:avLst/>
          </a:prstGeom>
        </p:spPr>
        <p:txBody>
          <a:bodyPr/>
          <a:lstStyle>
            <a:lvl1pPr marL="0" indent="0" algn="ctr">
              <a:buFontTx/>
              <a:buNone/>
              <a:defRPr lang="de-DE" sz="1600" kern="1200" baseline="0" dirty="0" smtClean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+mn-cs"/>
              </a:defRPr>
            </a:lvl1pPr>
            <a:lvl2pPr algn="ctr">
              <a:defRPr sz="1600"/>
            </a:lvl2pPr>
            <a:lvl3pPr algn="ctr">
              <a:defRPr sz="1600"/>
            </a:lvl3pPr>
            <a:lvl4pPr algn="ctr">
              <a:defRPr sz="1600"/>
            </a:lvl4pPr>
            <a:lvl5pPr algn="ctr">
              <a:defRPr sz="1600"/>
            </a:lvl5pPr>
          </a:lstStyle>
          <a:p>
            <a:pPr marL="0" lvl="0" indent="0" algn="ctr" defTabSz="914400" rtl="0" eaLnBrk="1" latinLnBrk="0" hangingPunct="1">
              <a:lnSpc>
                <a:spcPts val="2400"/>
              </a:lnSpc>
              <a:spcBef>
                <a:spcPts val="1000"/>
              </a:spcBef>
              <a:buSzPct val="65000"/>
              <a:buFontTx/>
              <a:buNone/>
              <a:tabLst>
                <a:tab pos="1704975" algn="l"/>
              </a:tabLst>
            </a:pP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Zwei- oder dreizeiliger Beispieltext für</a:t>
            </a:r>
            <a:b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</a:b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Information im Kreis</a:t>
            </a:r>
          </a:p>
        </p:txBody>
      </p:sp>
      <p:sp>
        <p:nvSpPr>
          <p:cNvPr id="35" name="Textplatzhalter 34"/>
          <p:cNvSpPr>
            <a:spLocks noGrp="1"/>
          </p:cNvSpPr>
          <p:nvPr>
            <p:ph type="body" sz="quarter" idx="21" hasCustomPrompt="1"/>
          </p:nvPr>
        </p:nvSpPr>
        <p:spPr>
          <a:xfrm>
            <a:off x="7314904" y="2692800"/>
            <a:ext cx="2160000" cy="1080000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ts val="2400"/>
              </a:lnSpc>
              <a:buFontTx/>
              <a:buNone/>
              <a:defRPr lang="de-DE" sz="1600" kern="1200" baseline="0" dirty="0">
                <a:solidFill>
                  <a:srgbClr val="002B6A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+mn-cs"/>
              </a:defRPr>
            </a:lvl1pPr>
          </a:lstStyle>
          <a:p>
            <a:pPr lvl="0"/>
            <a:r>
              <a:rPr lang="de-DE" dirty="0"/>
              <a:t>Zwei- oder dreizeiliger Beispieltext für</a:t>
            </a:r>
            <a:br>
              <a:rPr lang="de-DE" dirty="0"/>
            </a:br>
            <a:r>
              <a:rPr lang="de-DE" dirty="0"/>
              <a:t>Information im Kreis</a:t>
            </a:r>
          </a:p>
        </p:txBody>
      </p:sp>
    </p:spTree>
    <p:extLst>
      <p:ext uri="{BB962C8B-B14F-4D97-AF65-F5344CB8AC3E}">
        <p14:creationId xmlns:p14="http://schemas.microsoft.com/office/powerpoint/2010/main" val="4016603129"/>
      </p:ext>
    </p:extLst>
  </p:cSld>
  <p:clrMapOvr>
    <a:masterClrMapping/>
  </p:clrMapOvr>
  <p:extLst>
    <p:ext uri="{DCECCB84-F9BA-43D5-87BE-67443E8EF086}">
      <p15:sldGuideLst xmlns:p15="http://schemas.microsoft.com/office/powerpoint/2012/main" xmlns="">
        <p15:guide id="1" orient="horz" pos="391">
          <p15:clr>
            <a:srgbClr val="FBAE40"/>
          </p15:clr>
        </p15:guide>
        <p15:guide id="3" pos="3840">
          <p15:clr>
            <a:srgbClr val="FBAE40"/>
          </p15:clr>
        </p15:guide>
        <p15:guide id="4" pos="438">
          <p15:clr>
            <a:srgbClr val="FBAE40"/>
          </p15:clr>
        </p15:guide>
        <p15:guide id="5" pos="2593">
          <p15:clr>
            <a:srgbClr val="FBAE40"/>
          </p15:clr>
        </p15:guide>
        <p15:guide id="6" orient="horz" pos="2840">
          <p15:clr>
            <a:srgbClr val="FBAE40"/>
          </p15:clr>
        </p15:guide>
        <p15:guide id="7" orient="horz" pos="2568">
          <p15:clr>
            <a:srgbClr val="FBAE40"/>
          </p15:clr>
        </p15:guide>
        <p15:guide id="8" pos="4498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Überschrift und Kreise mit Text_0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5E8BE331-C93C-4A62-8706-E5CDAF2B355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6000" y="576000"/>
            <a:ext cx="10515600" cy="427877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3200" baseline="0">
                <a:solidFill>
                  <a:srgbClr val="FFFFFF"/>
                </a:solidFill>
                <a:latin typeface="Roboto Medium" panose="02000000000000000000" pitchFamily="2" charset="0"/>
                <a:ea typeface="Roboto Medium" panose="02000000000000000000" pitchFamily="2" charset="0"/>
              </a:defRPr>
            </a:lvl1pPr>
          </a:lstStyle>
          <a:p>
            <a:r>
              <a:rPr lang="en-US" dirty="0" err="1"/>
              <a:t>Hier</a:t>
            </a:r>
            <a:r>
              <a:rPr lang="en-US" dirty="0"/>
              <a:t> </a:t>
            </a:r>
            <a:r>
              <a:rPr lang="en-US" dirty="0" err="1"/>
              <a:t>könnte</a:t>
            </a:r>
            <a:r>
              <a:rPr lang="en-US" dirty="0"/>
              <a:t> </a:t>
            </a:r>
            <a:r>
              <a:rPr lang="en-US" dirty="0" err="1"/>
              <a:t>Ihre</a:t>
            </a:r>
            <a:r>
              <a:rPr lang="en-US" dirty="0"/>
              <a:t> </a:t>
            </a:r>
            <a:r>
              <a:rPr lang="en-US" dirty="0" err="1"/>
              <a:t>Überschrift</a:t>
            </a:r>
            <a:r>
              <a:rPr lang="en-US" dirty="0"/>
              <a:t> </a:t>
            </a:r>
            <a:r>
              <a:rPr lang="en-US" dirty="0" err="1"/>
              <a:t>stehen</a:t>
            </a:r>
            <a:endParaRPr lang="en-IN" dirty="0"/>
          </a:p>
        </p:txBody>
      </p:sp>
      <p:sp>
        <p:nvSpPr>
          <p:cNvPr id="11" name="Freeform: Shape 7696">
            <a:extLst>
              <a:ext uri="{FF2B5EF4-FFF2-40B4-BE49-F238E27FC236}">
                <a16:creationId xmlns:a16="http://schemas.microsoft.com/office/drawing/2014/main" xmlns="" id="{436F1DCB-986E-4B98-B02B-18387C44B232}"/>
              </a:ext>
            </a:extLst>
          </p:cNvPr>
          <p:cNvSpPr/>
          <p:nvPr userDrawn="1"/>
        </p:nvSpPr>
        <p:spPr>
          <a:xfrm rot="4800">
            <a:off x="3454034" y="2341418"/>
            <a:ext cx="2180965" cy="2183910"/>
          </a:xfrm>
          <a:custGeom>
            <a:avLst/>
            <a:gdLst/>
            <a:ahLst/>
            <a:cxnLst>
              <a:cxn ang="3cd4">
                <a:pos x="hc" y="t"/>
              </a:cxn>
              <a:cxn ang="cd2">
                <a:pos x="l" y="vc"/>
              </a:cxn>
              <a:cxn ang="cd4">
                <a:pos x="hc" y="b"/>
              </a:cxn>
              <a:cxn ang="0">
                <a:pos x="r" y="vc"/>
              </a:cxn>
            </a:cxnLst>
            <a:rect l="l" t="t" r="r" b="b"/>
            <a:pathLst>
              <a:path w="742" h="743">
                <a:moveTo>
                  <a:pt x="742" y="372"/>
                </a:moveTo>
                <a:cubicBezTo>
                  <a:pt x="742" y="577"/>
                  <a:pt x="576" y="743"/>
                  <a:pt x="371" y="743"/>
                </a:cubicBezTo>
                <a:cubicBezTo>
                  <a:pt x="166" y="743"/>
                  <a:pt x="0" y="577"/>
                  <a:pt x="0" y="372"/>
                </a:cubicBezTo>
                <a:cubicBezTo>
                  <a:pt x="0" y="166"/>
                  <a:pt x="166" y="0"/>
                  <a:pt x="371" y="0"/>
                </a:cubicBezTo>
                <a:cubicBezTo>
                  <a:pt x="576" y="0"/>
                  <a:pt x="742" y="166"/>
                  <a:pt x="742" y="372"/>
                </a:cubicBezTo>
                <a:close/>
              </a:path>
            </a:pathLst>
          </a:custGeom>
          <a:solidFill>
            <a:schemeClr val="accent1"/>
          </a:solidFill>
          <a:ln cap="flat">
            <a:noFill/>
            <a:prstDash val="solid"/>
          </a:ln>
        </p:spPr>
        <p:txBody>
          <a:bodyPr vert="horz" wrap="none" lIns="45000" tIns="22500" rIns="45000" bIns="22500" anchor="ctr" anchorCtr="1" compatLnSpc="0"/>
          <a:lstStyle/>
          <a:p>
            <a:pPr hangingPunct="0"/>
            <a:endParaRPr lang="en-US" sz="900">
              <a:latin typeface="Arial" pitchFamily="18"/>
              <a:ea typeface="Arial Unicode MS" pitchFamily="2"/>
              <a:cs typeface="Arial Unicode MS" pitchFamily="2"/>
            </a:endParaRPr>
          </a:p>
        </p:txBody>
      </p:sp>
      <p:sp>
        <p:nvSpPr>
          <p:cNvPr id="12" name="Freeform: Shape 7697">
            <a:extLst>
              <a:ext uri="{FF2B5EF4-FFF2-40B4-BE49-F238E27FC236}">
                <a16:creationId xmlns:a16="http://schemas.microsoft.com/office/drawing/2014/main" xmlns="" id="{C2BF8B91-8714-46F1-87A4-C0FF850D5C8E}"/>
              </a:ext>
            </a:extLst>
          </p:cNvPr>
          <p:cNvSpPr/>
          <p:nvPr userDrawn="1"/>
        </p:nvSpPr>
        <p:spPr>
          <a:xfrm rot="4800">
            <a:off x="9014314" y="2337046"/>
            <a:ext cx="2183908" cy="2183910"/>
          </a:xfrm>
          <a:custGeom>
            <a:avLst/>
            <a:gdLst/>
            <a:ahLst/>
            <a:cxnLst>
              <a:cxn ang="3cd4">
                <a:pos x="hc" y="t"/>
              </a:cxn>
              <a:cxn ang="cd2">
                <a:pos x="l" y="vc"/>
              </a:cxn>
              <a:cxn ang="cd4">
                <a:pos x="hc" y="b"/>
              </a:cxn>
              <a:cxn ang="0">
                <a:pos x="r" y="vc"/>
              </a:cxn>
            </a:cxnLst>
            <a:rect l="l" t="t" r="r" b="b"/>
            <a:pathLst>
              <a:path w="743" h="743">
                <a:moveTo>
                  <a:pt x="743" y="372"/>
                </a:moveTo>
                <a:cubicBezTo>
                  <a:pt x="743" y="577"/>
                  <a:pt x="576" y="743"/>
                  <a:pt x="371" y="743"/>
                </a:cubicBezTo>
                <a:cubicBezTo>
                  <a:pt x="166" y="743"/>
                  <a:pt x="0" y="577"/>
                  <a:pt x="0" y="372"/>
                </a:cubicBezTo>
                <a:cubicBezTo>
                  <a:pt x="0" y="167"/>
                  <a:pt x="166" y="0"/>
                  <a:pt x="371" y="0"/>
                </a:cubicBezTo>
                <a:cubicBezTo>
                  <a:pt x="576" y="0"/>
                  <a:pt x="743" y="167"/>
                  <a:pt x="743" y="372"/>
                </a:cubicBezTo>
                <a:close/>
              </a:path>
            </a:pathLst>
          </a:custGeom>
          <a:solidFill>
            <a:schemeClr val="accent2"/>
          </a:solidFill>
          <a:ln cap="flat">
            <a:noFill/>
            <a:prstDash val="solid"/>
          </a:ln>
        </p:spPr>
        <p:txBody>
          <a:bodyPr vert="horz" wrap="none" lIns="45000" tIns="22500" rIns="45000" bIns="22500" anchor="ctr" anchorCtr="1" compatLnSpc="0"/>
          <a:lstStyle/>
          <a:p>
            <a:pPr hangingPunct="0"/>
            <a:endParaRPr lang="en-US" sz="900">
              <a:latin typeface="Arial" pitchFamily="18"/>
              <a:ea typeface="Arial Unicode MS" pitchFamily="2"/>
              <a:cs typeface="Arial Unicode MS" pitchFamily="2"/>
            </a:endParaRPr>
          </a:p>
        </p:txBody>
      </p:sp>
      <p:sp>
        <p:nvSpPr>
          <p:cNvPr id="13" name="Freeform: Shape 7698">
            <a:extLst>
              <a:ext uri="{FF2B5EF4-FFF2-40B4-BE49-F238E27FC236}">
                <a16:creationId xmlns:a16="http://schemas.microsoft.com/office/drawing/2014/main" xmlns="" id="{C4143B21-05F8-4ACB-AF23-F45BE008F213}"/>
              </a:ext>
            </a:extLst>
          </p:cNvPr>
          <p:cNvSpPr/>
          <p:nvPr userDrawn="1"/>
        </p:nvSpPr>
        <p:spPr>
          <a:xfrm rot="4800">
            <a:off x="6261351" y="2337045"/>
            <a:ext cx="2183908" cy="2183910"/>
          </a:xfrm>
          <a:custGeom>
            <a:avLst/>
            <a:gdLst/>
            <a:ahLst/>
            <a:cxnLst>
              <a:cxn ang="3cd4">
                <a:pos x="hc" y="t"/>
              </a:cxn>
              <a:cxn ang="cd2">
                <a:pos x="l" y="vc"/>
              </a:cxn>
              <a:cxn ang="cd4">
                <a:pos x="hc" y="b"/>
              </a:cxn>
              <a:cxn ang="0">
                <a:pos x="r" y="vc"/>
              </a:cxn>
            </a:cxnLst>
            <a:rect l="l" t="t" r="r" b="b"/>
            <a:pathLst>
              <a:path w="743" h="743">
                <a:moveTo>
                  <a:pt x="743" y="371"/>
                </a:moveTo>
                <a:cubicBezTo>
                  <a:pt x="743" y="576"/>
                  <a:pt x="576" y="743"/>
                  <a:pt x="371" y="743"/>
                </a:cubicBezTo>
                <a:cubicBezTo>
                  <a:pt x="166" y="743"/>
                  <a:pt x="0" y="576"/>
                  <a:pt x="0" y="371"/>
                </a:cubicBezTo>
                <a:cubicBezTo>
                  <a:pt x="0" y="166"/>
                  <a:pt x="166" y="0"/>
                  <a:pt x="371" y="0"/>
                </a:cubicBezTo>
                <a:cubicBezTo>
                  <a:pt x="576" y="0"/>
                  <a:pt x="743" y="166"/>
                  <a:pt x="743" y="371"/>
                </a:cubicBezTo>
                <a:close/>
              </a:path>
            </a:pathLst>
          </a:custGeom>
          <a:solidFill>
            <a:schemeClr val="accent3"/>
          </a:solidFill>
          <a:ln cap="flat">
            <a:noFill/>
            <a:prstDash val="solid"/>
          </a:ln>
        </p:spPr>
        <p:txBody>
          <a:bodyPr vert="horz" wrap="none" lIns="45000" tIns="22500" rIns="45000" bIns="22500" anchor="ctr" anchorCtr="1" compatLnSpc="0"/>
          <a:lstStyle/>
          <a:p>
            <a:pPr hangingPunct="0"/>
            <a:endParaRPr lang="en-US" sz="900">
              <a:latin typeface="Arial" pitchFamily="18"/>
              <a:ea typeface="Arial Unicode MS" pitchFamily="2"/>
              <a:cs typeface="Arial Unicode MS" pitchFamily="2"/>
            </a:endParaRPr>
          </a:p>
        </p:txBody>
      </p:sp>
      <p:sp>
        <p:nvSpPr>
          <p:cNvPr id="14" name="Freeform: Shape 7699">
            <a:extLst>
              <a:ext uri="{FF2B5EF4-FFF2-40B4-BE49-F238E27FC236}">
                <a16:creationId xmlns:a16="http://schemas.microsoft.com/office/drawing/2014/main" xmlns="" id="{7B21221D-D32B-4583-942F-F5CD86C20BEE}"/>
              </a:ext>
            </a:extLst>
          </p:cNvPr>
          <p:cNvSpPr/>
          <p:nvPr userDrawn="1"/>
        </p:nvSpPr>
        <p:spPr>
          <a:xfrm rot="4800">
            <a:off x="698129" y="2337045"/>
            <a:ext cx="2183908" cy="2183910"/>
          </a:xfrm>
          <a:custGeom>
            <a:avLst/>
            <a:gdLst/>
            <a:ahLst/>
            <a:cxnLst>
              <a:cxn ang="3cd4">
                <a:pos x="hc" y="t"/>
              </a:cxn>
              <a:cxn ang="cd2">
                <a:pos x="l" y="vc"/>
              </a:cxn>
              <a:cxn ang="cd4">
                <a:pos x="hc" y="b"/>
              </a:cxn>
              <a:cxn ang="0">
                <a:pos x="r" y="vc"/>
              </a:cxn>
            </a:cxnLst>
            <a:rect l="l" t="t" r="r" b="b"/>
            <a:pathLst>
              <a:path w="743" h="743">
                <a:moveTo>
                  <a:pt x="743" y="371"/>
                </a:moveTo>
                <a:cubicBezTo>
                  <a:pt x="743" y="576"/>
                  <a:pt x="577" y="743"/>
                  <a:pt x="372" y="743"/>
                </a:cubicBezTo>
                <a:cubicBezTo>
                  <a:pt x="166" y="743"/>
                  <a:pt x="0" y="576"/>
                  <a:pt x="0" y="371"/>
                </a:cubicBezTo>
                <a:cubicBezTo>
                  <a:pt x="0" y="166"/>
                  <a:pt x="166" y="0"/>
                  <a:pt x="372" y="0"/>
                </a:cubicBezTo>
                <a:cubicBezTo>
                  <a:pt x="577" y="0"/>
                  <a:pt x="743" y="166"/>
                  <a:pt x="743" y="371"/>
                </a:cubicBezTo>
                <a:close/>
              </a:path>
            </a:pathLst>
          </a:custGeom>
          <a:solidFill>
            <a:srgbClr val="CCECF9"/>
          </a:solidFill>
          <a:ln cap="flat">
            <a:noFill/>
            <a:prstDash val="solid"/>
          </a:ln>
        </p:spPr>
        <p:txBody>
          <a:bodyPr vert="horz" wrap="none" lIns="45000" tIns="22500" rIns="45000" bIns="22500" anchor="ctr" anchorCtr="1" compatLnSpc="0"/>
          <a:lstStyle/>
          <a:p>
            <a:pPr hangingPunct="0"/>
            <a:endParaRPr lang="en-US" sz="900">
              <a:latin typeface="Arial" pitchFamily="18"/>
              <a:ea typeface="Arial Unicode MS" pitchFamily="2"/>
              <a:cs typeface="Arial Unicode MS" pitchFamily="2"/>
            </a:endParaRPr>
          </a:p>
        </p:txBody>
      </p:sp>
    </p:spTree>
    <p:extLst>
      <p:ext uri="{BB962C8B-B14F-4D97-AF65-F5344CB8AC3E}">
        <p14:creationId xmlns:p14="http://schemas.microsoft.com/office/powerpoint/2010/main" val="3735555230"/>
      </p:ext>
    </p:extLst>
  </p:cSld>
  <p:clrMapOvr>
    <a:masterClrMapping/>
  </p:clrMapOvr>
  <p:extLst>
    <p:ext uri="{DCECCB84-F9BA-43D5-87BE-67443E8EF086}">
      <p15:sldGuideLst xmlns:p15="http://schemas.microsoft.com/office/powerpoint/2012/main" xmlns="">
        <p15:guide id="1" orient="horz" pos="391">
          <p15:clr>
            <a:srgbClr val="FBAE40"/>
          </p15:clr>
        </p15:guide>
        <p15:guide id="3" pos="3840">
          <p15:clr>
            <a:srgbClr val="FBAE40"/>
          </p15:clr>
        </p15:guide>
        <p15:guide id="4" pos="438">
          <p15:clr>
            <a:srgbClr val="FBAE40"/>
          </p15:clr>
        </p15:guide>
        <p15:guide id="5" pos="2593">
          <p15:clr>
            <a:srgbClr val="FBAE40"/>
          </p15:clr>
        </p15:guide>
        <p15:guide id="6" orient="horz" pos="2840">
          <p15:clr>
            <a:srgbClr val="FBAE40"/>
          </p15:clr>
        </p15:guide>
        <p15:guide id="7" orient="horz" pos="2568">
          <p15:clr>
            <a:srgbClr val="FBAE40"/>
          </p15:clr>
        </p15:guide>
        <p15:guide id="8" pos="4498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Überschrift und Abfolge Platz für Icons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5E8BE331-C93C-4A62-8706-E5CDAF2B355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6000" y="576000"/>
            <a:ext cx="10515600" cy="427877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3200" baseline="0">
                <a:solidFill>
                  <a:srgbClr val="FFFFFF"/>
                </a:solidFill>
                <a:latin typeface="Roboto Medium" panose="02000000000000000000" pitchFamily="2" charset="0"/>
                <a:ea typeface="Roboto Medium" panose="02000000000000000000" pitchFamily="2" charset="0"/>
              </a:defRPr>
            </a:lvl1pPr>
          </a:lstStyle>
          <a:p>
            <a:r>
              <a:rPr lang="en-US" dirty="0" err="1"/>
              <a:t>Hier</a:t>
            </a:r>
            <a:r>
              <a:rPr lang="en-US" dirty="0"/>
              <a:t> </a:t>
            </a:r>
            <a:r>
              <a:rPr lang="en-US" dirty="0" err="1"/>
              <a:t>könnte</a:t>
            </a:r>
            <a:r>
              <a:rPr lang="en-US" dirty="0"/>
              <a:t> </a:t>
            </a:r>
            <a:r>
              <a:rPr lang="en-US" dirty="0" err="1"/>
              <a:t>Ihre</a:t>
            </a:r>
            <a:r>
              <a:rPr lang="en-US" dirty="0"/>
              <a:t> </a:t>
            </a:r>
            <a:r>
              <a:rPr lang="en-US" dirty="0" err="1"/>
              <a:t>Überschrift</a:t>
            </a:r>
            <a:r>
              <a:rPr lang="en-US" dirty="0"/>
              <a:t> </a:t>
            </a:r>
            <a:r>
              <a:rPr lang="en-US" dirty="0" err="1"/>
              <a:t>stehen</a:t>
            </a:r>
            <a:endParaRPr lang="en-IN" dirty="0"/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xmlns="" id="{A446D049-F822-4B92-BFB6-EE0B8087C4C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937545" y="3759819"/>
            <a:ext cx="1440000" cy="3600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lang="en-IN" sz="2000" b="1" kern="1200" baseline="0" dirty="0">
                <a:solidFill>
                  <a:schemeClr val="tx1"/>
                </a:solidFill>
                <a:latin typeface="Roboto Cn" pitchFamily="2" charset="0"/>
                <a:ea typeface="Roboto Cn" pitchFamily="2" charset="0"/>
                <a:cs typeface="+mn-cs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 err="1"/>
              <a:t>Schritt</a:t>
            </a:r>
            <a:r>
              <a:rPr lang="en-US" dirty="0"/>
              <a:t> 01</a:t>
            </a:r>
            <a:endParaRPr lang="en-IN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1" hasCustomPrompt="1"/>
          </p:nvPr>
        </p:nvSpPr>
        <p:spPr>
          <a:xfrm>
            <a:off x="4639748" y="3753000"/>
            <a:ext cx="1440000" cy="360000"/>
          </a:xfrm>
          <a:prstGeom prst="rect">
            <a:avLst/>
          </a:prstGeom>
        </p:spPr>
        <p:txBody>
          <a:bodyPr/>
          <a:lstStyle>
            <a:lvl1pPr marL="0" indent="0" algn="ctr">
              <a:buFontTx/>
              <a:buNone/>
              <a:defRPr lang="de-DE" sz="2000" b="1" kern="1200" baseline="0" dirty="0" smtClean="0">
                <a:solidFill>
                  <a:schemeClr val="tx1"/>
                </a:solidFill>
                <a:latin typeface="Roboto Cn" pitchFamily="2" charset="0"/>
                <a:ea typeface="Roboto Cn" pitchFamily="2" charset="0"/>
                <a:cs typeface="+mn-cs"/>
              </a:defRPr>
            </a:lvl1pPr>
            <a:lvl2pPr marL="457200" indent="0">
              <a:buFontTx/>
              <a:buNone/>
              <a:defRPr lang="de-DE" sz="2000" kern="1200" baseline="0" dirty="0" smtClean="0">
                <a:solidFill>
                  <a:schemeClr val="accent5"/>
                </a:solidFill>
                <a:latin typeface="Roboto Cn" pitchFamily="2" charset="0"/>
                <a:ea typeface="Roboto Cn" pitchFamily="2" charset="0"/>
                <a:cs typeface="+mn-cs"/>
              </a:defRPr>
            </a:lvl2pPr>
            <a:lvl3pPr>
              <a:buFontTx/>
              <a:buNone/>
              <a:defRPr lang="de-DE" sz="2000" kern="1200" baseline="0" dirty="0" smtClean="0">
                <a:solidFill>
                  <a:schemeClr val="accent5"/>
                </a:solidFill>
                <a:latin typeface="Roboto Cn" pitchFamily="2" charset="0"/>
                <a:ea typeface="Roboto Cn" pitchFamily="2" charset="0"/>
                <a:cs typeface="+mn-cs"/>
              </a:defRPr>
            </a:lvl3pPr>
            <a:lvl4pPr marL="1371600" indent="0">
              <a:buFontTx/>
              <a:buNone/>
              <a:defRPr lang="de-DE" sz="2000" kern="1200" baseline="0" dirty="0" smtClean="0">
                <a:solidFill>
                  <a:schemeClr val="accent5"/>
                </a:solidFill>
                <a:latin typeface="Roboto Cn" pitchFamily="2" charset="0"/>
                <a:ea typeface="Roboto Cn" pitchFamily="2" charset="0"/>
                <a:cs typeface="+mn-cs"/>
              </a:defRPr>
            </a:lvl4pPr>
            <a:lvl5pPr marL="1828800" indent="0">
              <a:buFontTx/>
              <a:buNone/>
              <a:defRPr lang="de-DE" sz="2000" kern="1200" baseline="0" dirty="0">
                <a:solidFill>
                  <a:schemeClr val="accent5"/>
                </a:solidFill>
                <a:latin typeface="Roboto Cn" pitchFamily="2" charset="0"/>
                <a:ea typeface="Roboto Cn" pitchFamily="2" charset="0"/>
                <a:cs typeface="+mn-cs"/>
              </a:defRPr>
            </a:lvl5pPr>
          </a:lstStyle>
          <a:p>
            <a:r>
              <a:rPr lang="en-US" dirty="0" err="1"/>
              <a:t>Schritt</a:t>
            </a:r>
            <a:r>
              <a:rPr lang="en-US" dirty="0"/>
              <a:t> 02</a:t>
            </a:r>
            <a:endParaRPr lang="en-IN" dirty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0" hasCustomPrompt="1"/>
          </p:nvPr>
        </p:nvSpPr>
        <p:spPr>
          <a:xfrm>
            <a:off x="1937545" y="4134368"/>
            <a:ext cx="1440000" cy="720000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ts val="2400"/>
              </a:lnSpc>
              <a:buSzPct val="65000"/>
              <a:buFontTx/>
              <a:buNone/>
              <a:tabLst>
                <a:tab pos="1704975" algn="l"/>
              </a:tabLst>
              <a:defRPr lang="de-DE" sz="1600" kern="1200" baseline="0" dirty="0" err="1" smtClean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+mn-cs"/>
              </a:defRPr>
            </a:lvl1pPr>
            <a:lvl2pPr marL="457200" indent="0">
              <a:buFontTx/>
              <a:buNone/>
              <a:defRPr lang="de-DE" sz="1600" kern="1200" dirty="0" smtClean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+mn-cs"/>
              </a:defRPr>
            </a:lvl2pPr>
            <a:lvl3pPr>
              <a:buFontTx/>
              <a:buNone/>
              <a:defRPr lang="de-DE" sz="1600" kern="1200" dirty="0" smtClean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+mn-cs"/>
              </a:defRPr>
            </a:lvl3pPr>
            <a:lvl4pPr marL="1371600" indent="0">
              <a:buFontTx/>
              <a:buNone/>
              <a:defRPr lang="de-DE" sz="1600" kern="1200" dirty="0" smtClean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+mn-cs"/>
              </a:defRPr>
            </a:lvl4pPr>
            <a:lvl5pPr marL="1828800" indent="0">
              <a:buFontTx/>
              <a:buNone/>
              <a:defRPr lang="de-DE" sz="1600" kern="12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+mn-cs"/>
              </a:defRPr>
            </a:lvl5pPr>
          </a:lstStyle>
          <a:p>
            <a:pPr lvl="0"/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Hier bitte Ihren Text einfügen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5" hasCustomPrompt="1"/>
          </p:nvPr>
        </p:nvSpPr>
        <p:spPr>
          <a:xfrm>
            <a:off x="7352940" y="3774368"/>
            <a:ext cx="1440000" cy="360000"/>
          </a:xfrm>
          <a:prstGeom prst="rect">
            <a:avLst/>
          </a:prstGeom>
        </p:spPr>
        <p:txBody>
          <a:bodyPr/>
          <a:lstStyle>
            <a:lvl1pPr marL="0" indent="0" algn="ctr">
              <a:buFontTx/>
              <a:buNone/>
              <a:defRPr lang="de-DE" sz="2000" b="1" kern="1200" baseline="0" dirty="0" smtClean="0">
                <a:solidFill>
                  <a:schemeClr val="tx1"/>
                </a:solidFill>
                <a:latin typeface="Roboto Cn" pitchFamily="2" charset="0"/>
                <a:ea typeface="Roboto Cn" pitchFamily="2" charset="0"/>
                <a:cs typeface="+mn-cs"/>
              </a:defRPr>
            </a:lvl1pPr>
          </a:lstStyle>
          <a:p>
            <a:r>
              <a:rPr lang="en-US" dirty="0" err="1"/>
              <a:t>Schritt</a:t>
            </a:r>
            <a:r>
              <a:rPr lang="en-US" dirty="0"/>
              <a:t> 05</a:t>
            </a:r>
            <a:endParaRPr lang="en-IN" dirty="0"/>
          </a:p>
        </p:txBody>
      </p:sp>
      <p:sp>
        <p:nvSpPr>
          <p:cNvPr id="20" name="Textplatzhalter 19"/>
          <p:cNvSpPr>
            <a:spLocks noGrp="1"/>
          </p:cNvSpPr>
          <p:nvPr>
            <p:ph type="body" sz="quarter" idx="17" hasCustomPrompt="1"/>
          </p:nvPr>
        </p:nvSpPr>
        <p:spPr>
          <a:xfrm>
            <a:off x="3287488" y="2826475"/>
            <a:ext cx="1440000" cy="720000"/>
          </a:xfrm>
          <a:prstGeom prst="rect">
            <a:avLst/>
          </a:prstGeom>
        </p:spPr>
        <p:txBody>
          <a:bodyPr/>
          <a:lstStyle>
            <a:lvl1pPr marL="0" indent="0" algn="ctr">
              <a:buFontTx/>
              <a:buNone/>
              <a:defRPr lang="de-DE" sz="1600" kern="1200" baseline="0" dirty="0" smtClean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+mn-cs"/>
              </a:defRPr>
            </a:lvl1pPr>
            <a:lvl2pPr algn="ctr">
              <a:defRPr sz="1600"/>
            </a:lvl2pPr>
            <a:lvl3pPr algn="ctr">
              <a:defRPr sz="1600"/>
            </a:lvl3pPr>
            <a:lvl4pPr algn="ctr">
              <a:defRPr sz="1600"/>
            </a:lvl4pPr>
            <a:lvl5pPr algn="ctr">
              <a:defRPr sz="1600"/>
            </a:lvl5pPr>
          </a:lstStyle>
          <a:p>
            <a:pPr lvl="0"/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Hier bitte Ihren Text einfügen</a:t>
            </a:r>
          </a:p>
        </p:txBody>
      </p:sp>
      <p:sp>
        <p:nvSpPr>
          <p:cNvPr id="25" name="Textplatzhalter 24"/>
          <p:cNvSpPr>
            <a:spLocks noGrp="1"/>
          </p:cNvSpPr>
          <p:nvPr>
            <p:ph type="body" sz="quarter" idx="18" hasCustomPrompt="1"/>
          </p:nvPr>
        </p:nvSpPr>
        <p:spPr>
          <a:xfrm>
            <a:off x="5984686" y="2440126"/>
            <a:ext cx="1440000" cy="360000"/>
          </a:xfrm>
          <a:prstGeom prst="rect">
            <a:avLst/>
          </a:prstGeom>
        </p:spPr>
        <p:txBody>
          <a:bodyPr/>
          <a:lstStyle>
            <a:lvl1pPr marL="0" indent="0" algn="ctr">
              <a:buFontTx/>
              <a:buNone/>
              <a:defRPr lang="de-DE" sz="2000" b="1" kern="1200" baseline="0" dirty="0">
                <a:solidFill>
                  <a:schemeClr val="tx1"/>
                </a:solidFill>
                <a:latin typeface="Roboto Cn" pitchFamily="2" charset="0"/>
                <a:ea typeface="Roboto Cn" pitchFamily="2" charset="0"/>
                <a:cs typeface="+mn-cs"/>
              </a:defRPr>
            </a:lvl1pPr>
          </a:lstStyle>
          <a:p>
            <a:r>
              <a:rPr lang="en-US" dirty="0" err="1"/>
              <a:t>Schritt</a:t>
            </a:r>
            <a:r>
              <a:rPr lang="en-US" dirty="0"/>
              <a:t> 02</a:t>
            </a:r>
            <a:endParaRPr lang="en-IN" dirty="0"/>
          </a:p>
        </p:txBody>
      </p:sp>
      <p:sp>
        <p:nvSpPr>
          <p:cNvPr id="29" name="Textplatzhalter 28"/>
          <p:cNvSpPr>
            <a:spLocks noGrp="1"/>
          </p:cNvSpPr>
          <p:nvPr>
            <p:ph type="body" sz="quarter" idx="19" hasCustomPrompt="1"/>
          </p:nvPr>
        </p:nvSpPr>
        <p:spPr>
          <a:xfrm>
            <a:off x="5984686" y="2819949"/>
            <a:ext cx="1440000" cy="720000"/>
          </a:xfrm>
          <a:prstGeom prst="rect">
            <a:avLst/>
          </a:prstGeom>
        </p:spPr>
        <p:txBody>
          <a:bodyPr/>
          <a:lstStyle>
            <a:lvl1pPr marL="0" indent="0" algn="ctr" defTabSz="914400" rtl="0" eaLnBrk="1" latinLnBrk="0" hangingPunct="1">
              <a:lnSpc>
                <a:spcPts val="2400"/>
              </a:lnSpc>
              <a:spcBef>
                <a:spcPts val="1000"/>
              </a:spcBef>
              <a:buSzPct val="65000"/>
              <a:buFontTx/>
              <a:buNone/>
              <a:tabLst>
                <a:tab pos="1704975" algn="l"/>
              </a:tabLst>
              <a:defRPr lang="de-DE" sz="1600" kern="1200" baseline="0" dirty="0" smtClean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+mn-cs"/>
              </a:defRPr>
            </a:lvl1pPr>
          </a:lstStyle>
          <a:p>
            <a:pPr lvl="0"/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Hier bitte Ihren Text einfügen</a:t>
            </a:r>
          </a:p>
        </p:txBody>
      </p:sp>
      <p:sp>
        <p:nvSpPr>
          <p:cNvPr id="33" name="Textplatzhalter 32"/>
          <p:cNvSpPr>
            <a:spLocks noGrp="1"/>
          </p:cNvSpPr>
          <p:nvPr>
            <p:ph type="body" sz="quarter" idx="20" hasCustomPrompt="1"/>
          </p:nvPr>
        </p:nvSpPr>
        <p:spPr>
          <a:xfrm>
            <a:off x="7352940" y="4148500"/>
            <a:ext cx="1440000" cy="720000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ts val="2400"/>
              </a:lnSpc>
              <a:buFontTx/>
              <a:buNone/>
              <a:defRPr sz="1600" baseline="0">
                <a:solidFill>
                  <a:schemeClr val="tx1"/>
                </a:solidFill>
              </a:defRPr>
            </a:lvl1pPr>
            <a:lvl2pPr>
              <a:defRPr sz="1600">
                <a:solidFill>
                  <a:srgbClr val="002B6A"/>
                </a:solidFill>
              </a:defRPr>
            </a:lvl2pPr>
            <a:lvl3pPr>
              <a:defRPr sz="1600">
                <a:solidFill>
                  <a:srgbClr val="002B6A"/>
                </a:solidFill>
              </a:defRPr>
            </a:lvl3pPr>
            <a:lvl4pPr>
              <a:defRPr sz="1600">
                <a:solidFill>
                  <a:srgbClr val="002B6A"/>
                </a:solidFill>
              </a:defRPr>
            </a:lvl4pPr>
            <a:lvl5pPr>
              <a:defRPr sz="1600">
                <a:solidFill>
                  <a:srgbClr val="002B6A"/>
                </a:solidFill>
              </a:defRPr>
            </a:lvl5pPr>
          </a:lstStyle>
          <a:p>
            <a:pPr lvl="0"/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Hier bitte Ihren Text einfügen</a:t>
            </a:r>
          </a:p>
        </p:txBody>
      </p:sp>
      <p:sp>
        <p:nvSpPr>
          <p:cNvPr id="35" name="Textplatzhalter 34"/>
          <p:cNvSpPr>
            <a:spLocks noGrp="1"/>
          </p:cNvSpPr>
          <p:nvPr>
            <p:ph type="body" sz="quarter" idx="21" hasCustomPrompt="1"/>
          </p:nvPr>
        </p:nvSpPr>
        <p:spPr>
          <a:xfrm>
            <a:off x="4656000" y="4139654"/>
            <a:ext cx="1440000" cy="720000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ts val="2400"/>
              </a:lnSpc>
              <a:buFontTx/>
              <a:buNone/>
              <a:defRPr lang="de-DE" sz="1600" kern="1200" baseline="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+mn-cs"/>
              </a:defRPr>
            </a:lvl1pPr>
          </a:lstStyle>
          <a:p>
            <a:pPr lvl="0"/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Hier bitte Ihren Text einfügen</a:t>
            </a:r>
          </a:p>
        </p:txBody>
      </p:sp>
      <p:sp>
        <p:nvSpPr>
          <p:cNvPr id="43" name="Arc 23"/>
          <p:cNvSpPr/>
          <p:nvPr userDrawn="1"/>
        </p:nvSpPr>
        <p:spPr>
          <a:xfrm rot="10800000">
            <a:off x="1656617" y="3420393"/>
            <a:ext cx="1997391" cy="1997395"/>
          </a:xfrm>
          <a:prstGeom prst="arc">
            <a:avLst>
              <a:gd name="adj1" fmla="val 7914138"/>
              <a:gd name="adj2" fmla="val 2868450"/>
            </a:avLst>
          </a:prstGeom>
          <a:ln w="88900" cap="rnd">
            <a:solidFill>
              <a:schemeClr val="accent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3199" b="1" dirty="0">
              <a:solidFill>
                <a:schemeClr val="tx2"/>
              </a:solidFill>
              <a:latin typeface="Roboto Bold" charset="0"/>
            </a:endParaRPr>
          </a:p>
        </p:txBody>
      </p:sp>
      <p:sp>
        <p:nvSpPr>
          <p:cNvPr id="44" name="Arc 24"/>
          <p:cNvSpPr/>
          <p:nvPr userDrawn="1"/>
        </p:nvSpPr>
        <p:spPr>
          <a:xfrm>
            <a:off x="3011025" y="1948356"/>
            <a:ext cx="1997391" cy="1997395"/>
          </a:xfrm>
          <a:prstGeom prst="arc">
            <a:avLst>
              <a:gd name="adj1" fmla="val 7914138"/>
              <a:gd name="adj2" fmla="val 2868450"/>
            </a:avLst>
          </a:prstGeom>
          <a:ln w="88900" cap="rnd">
            <a:solidFill>
              <a:schemeClr val="accent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3199" b="1" dirty="0">
              <a:solidFill>
                <a:schemeClr val="tx2"/>
              </a:solidFill>
              <a:latin typeface="Roboto Bold" charset="0"/>
            </a:endParaRPr>
          </a:p>
        </p:txBody>
      </p:sp>
      <p:sp>
        <p:nvSpPr>
          <p:cNvPr id="45" name="Arc 26"/>
          <p:cNvSpPr/>
          <p:nvPr userDrawn="1"/>
        </p:nvSpPr>
        <p:spPr>
          <a:xfrm rot="10800000">
            <a:off x="4365433" y="3420393"/>
            <a:ext cx="1997391" cy="1997395"/>
          </a:xfrm>
          <a:prstGeom prst="arc">
            <a:avLst>
              <a:gd name="adj1" fmla="val 7914138"/>
              <a:gd name="adj2" fmla="val 2868450"/>
            </a:avLst>
          </a:prstGeom>
          <a:ln w="88900" cap="rnd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3199" b="1" dirty="0">
              <a:solidFill>
                <a:schemeClr val="tx2"/>
              </a:solidFill>
              <a:latin typeface="Roboto Bold" charset="0"/>
            </a:endParaRPr>
          </a:p>
        </p:txBody>
      </p:sp>
      <p:sp>
        <p:nvSpPr>
          <p:cNvPr id="46" name="Arc 36"/>
          <p:cNvSpPr/>
          <p:nvPr userDrawn="1"/>
        </p:nvSpPr>
        <p:spPr>
          <a:xfrm>
            <a:off x="5719838" y="1961608"/>
            <a:ext cx="1997391" cy="1997395"/>
          </a:xfrm>
          <a:prstGeom prst="arc">
            <a:avLst>
              <a:gd name="adj1" fmla="val 7914138"/>
              <a:gd name="adj2" fmla="val 2868450"/>
            </a:avLst>
          </a:prstGeom>
          <a:ln w="88900" cap="rnd">
            <a:solidFill>
              <a:schemeClr val="accent4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3199" b="1" dirty="0">
              <a:solidFill>
                <a:schemeClr val="tx2"/>
              </a:solidFill>
              <a:latin typeface="Roboto Bold" charset="0"/>
            </a:endParaRPr>
          </a:p>
        </p:txBody>
      </p:sp>
      <p:sp>
        <p:nvSpPr>
          <p:cNvPr id="47" name="Arc 40"/>
          <p:cNvSpPr/>
          <p:nvPr userDrawn="1"/>
        </p:nvSpPr>
        <p:spPr>
          <a:xfrm rot="10800000">
            <a:off x="7074245" y="3420393"/>
            <a:ext cx="1997391" cy="1997395"/>
          </a:xfrm>
          <a:prstGeom prst="arc">
            <a:avLst>
              <a:gd name="adj1" fmla="val 7914138"/>
              <a:gd name="adj2" fmla="val 2868450"/>
            </a:avLst>
          </a:prstGeom>
          <a:ln w="88900" cap="rnd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3199" b="1" dirty="0">
              <a:solidFill>
                <a:schemeClr val="tx2"/>
              </a:solidFill>
              <a:latin typeface="Roboto Bold" charset="0"/>
            </a:endParaRPr>
          </a:p>
        </p:txBody>
      </p:sp>
      <p:sp>
        <p:nvSpPr>
          <p:cNvPr id="48" name="Oval 41"/>
          <p:cNvSpPr/>
          <p:nvPr userDrawn="1"/>
        </p:nvSpPr>
        <p:spPr>
          <a:xfrm rot="10800000">
            <a:off x="7658315" y="4975189"/>
            <a:ext cx="829253" cy="829253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2833" tIns="118841" rIns="0" bIns="0" rtlCol="0" anchor="ctr"/>
          <a:lstStyle/>
          <a:p>
            <a:pPr algn="ctr"/>
            <a:endParaRPr lang="en-US" sz="3199" b="1" dirty="0">
              <a:solidFill>
                <a:schemeClr val="tx2"/>
              </a:solidFill>
              <a:latin typeface="Roboto Bold" charset="0"/>
            </a:endParaRPr>
          </a:p>
        </p:txBody>
      </p:sp>
      <p:sp>
        <p:nvSpPr>
          <p:cNvPr id="49" name="Oval 42"/>
          <p:cNvSpPr/>
          <p:nvPr userDrawn="1"/>
        </p:nvSpPr>
        <p:spPr>
          <a:xfrm rot="10800000">
            <a:off x="6303908" y="1546981"/>
            <a:ext cx="829253" cy="829253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65107" tIns="118841" rIns="0" bIns="0" rtlCol="0" anchor="ctr"/>
          <a:lstStyle/>
          <a:p>
            <a:pPr algn="ctr"/>
            <a:endParaRPr lang="en-US" sz="3199" b="1" dirty="0">
              <a:solidFill>
                <a:schemeClr val="tx2"/>
              </a:solidFill>
              <a:latin typeface="Roboto Bold" charset="0"/>
            </a:endParaRPr>
          </a:p>
        </p:txBody>
      </p:sp>
      <p:sp>
        <p:nvSpPr>
          <p:cNvPr id="50" name="Oval 43"/>
          <p:cNvSpPr/>
          <p:nvPr userDrawn="1"/>
        </p:nvSpPr>
        <p:spPr>
          <a:xfrm rot="10800000">
            <a:off x="4949502" y="4975189"/>
            <a:ext cx="829253" cy="829253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2833" tIns="118841" rIns="0" bIns="0" rtlCol="0" anchor="ctr"/>
          <a:lstStyle/>
          <a:p>
            <a:pPr algn="ctr"/>
            <a:endParaRPr lang="en-US" sz="3199" b="1" dirty="0">
              <a:solidFill>
                <a:schemeClr val="tx2"/>
              </a:solidFill>
              <a:latin typeface="Roboto Bold" charset="0"/>
            </a:endParaRPr>
          </a:p>
        </p:txBody>
      </p:sp>
      <p:sp>
        <p:nvSpPr>
          <p:cNvPr id="51" name="Oval 44"/>
          <p:cNvSpPr/>
          <p:nvPr userDrawn="1"/>
        </p:nvSpPr>
        <p:spPr>
          <a:xfrm rot="10800000">
            <a:off x="3595094" y="1533729"/>
            <a:ext cx="829253" cy="829253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2833" tIns="118841" rIns="0" bIns="0" rtlCol="0" anchor="ctr"/>
          <a:lstStyle/>
          <a:p>
            <a:pPr algn="ctr"/>
            <a:endParaRPr lang="en-US" sz="3199" b="1" dirty="0">
              <a:solidFill>
                <a:schemeClr val="tx2"/>
              </a:solidFill>
              <a:latin typeface="Roboto Bold" charset="0"/>
            </a:endParaRPr>
          </a:p>
        </p:txBody>
      </p:sp>
      <p:sp>
        <p:nvSpPr>
          <p:cNvPr id="52" name="Oval 45"/>
          <p:cNvSpPr/>
          <p:nvPr userDrawn="1"/>
        </p:nvSpPr>
        <p:spPr>
          <a:xfrm rot="10800000">
            <a:off x="2240686" y="4975189"/>
            <a:ext cx="829253" cy="829253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2833" tIns="118841" rIns="0" bIns="0" rtlCol="0" anchor="ctr"/>
          <a:lstStyle/>
          <a:p>
            <a:pPr algn="ctr"/>
            <a:endParaRPr lang="en-US" sz="3199" b="1" dirty="0">
              <a:solidFill>
                <a:schemeClr val="tx2"/>
              </a:solidFill>
              <a:latin typeface="Roboto Bold" charset="0"/>
            </a:endParaRP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6" hasCustomPrompt="1"/>
          </p:nvPr>
        </p:nvSpPr>
        <p:spPr>
          <a:xfrm>
            <a:off x="3287488" y="2436380"/>
            <a:ext cx="1440000" cy="360000"/>
          </a:xfrm>
          <a:prstGeom prst="rect">
            <a:avLst/>
          </a:prstGeom>
        </p:spPr>
        <p:txBody>
          <a:bodyPr/>
          <a:lstStyle>
            <a:lvl1pPr marL="0" indent="0" algn="ctr">
              <a:buFontTx/>
              <a:buNone/>
              <a:defRPr lang="en-IN" sz="2000" b="1" kern="1200" baseline="0" dirty="0">
                <a:solidFill>
                  <a:schemeClr val="tx1"/>
                </a:solidFill>
                <a:latin typeface="Roboto Cn" pitchFamily="2" charset="0"/>
                <a:ea typeface="Roboto Cn" pitchFamily="2" charset="0"/>
                <a:cs typeface="+mn-cs"/>
              </a:defRPr>
            </a:lvl1pPr>
          </a:lstStyle>
          <a:p>
            <a:r>
              <a:rPr lang="en-US" dirty="0" err="1"/>
              <a:t>Schritt</a:t>
            </a:r>
            <a:r>
              <a:rPr lang="en-US" dirty="0"/>
              <a:t> 02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532179453"/>
      </p:ext>
    </p:extLst>
  </p:cSld>
  <p:clrMapOvr>
    <a:masterClrMapping/>
  </p:clrMapOvr>
  <p:extLst>
    <p:ext uri="{DCECCB84-F9BA-43D5-87BE-67443E8EF086}">
      <p15:sldGuideLst xmlns:p15="http://schemas.microsoft.com/office/powerpoint/2012/main" xmlns="">
        <p15:guide id="1" orient="horz" pos="391">
          <p15:clr>
            <a:srgbClr val="FBAE40"/>
          </p15:clr>
        </p15:guide>
        <p15:guide id="3" pos="3840">
          <p15:clr>
            <a:srgbClr val="FBAE40"/>
          </p15:clr>
        </p15:guide>
        <p15:guide id="4" pos="438">
          <p15:clr>
            <a:srgbClr val="FBAE40"/>
          </p15:clr>
        </p15:guide>
        <p15:guide id="5" pos="2593">
          <p15:clr>
            <a:srgbClr val="FBAE40"/>
          </p15:clr>
        </p15:guide>
        <p15:guide id="6" orient="horz" pos="2840">
          <p15:clr>
            <a:srgbClr val="FBAE40"/>
          </p15:clr>
        </p15:guide>
        <p15:guide id="7" orient="horz" pos="2568">
          <p15:clr>
            <a:srgbClr val="FBAE40"/>
          </p15:clr>
        </p15:guide>
        <p15:guide id="8" pos="4498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Überschrift und Abfolge Platz für Icons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5E8BE331-C93C-4A62-8706-E5CDAF2B355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6000" y="576000"/>
            <a:ext cx="10515600" cy="427877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3200" baseline="0">
                <a:solidFill>
                  <a:srgbClr val="FFFFFF"/>
                </a:solidFill>
                <a:latin typeface="Roboto Medium" panose="02000000000000000000" pitchFamily="2" charset="0"/>
                <a:ea typeface="Roboto Medium" panose="02000000000000000000" pitchFamily="2" charset="0"/>
              </a:defRPr>
            </a:lvl1pPr>
          </a:lstStyle>
          <a:p>
            <a:r>
              <a:rPr lang="en-US" dirty="0" err="1"/>
              <a:t>Hier</a:t>
            </a:r>
            <a:r>
              <a:rPr lang="en-US" dirty="0"/>
              <a:t> </a:t>
            </a:r>
            <a:r>
              <a:rPr lang="en-US" dirty="0" err="1"/>
              <a:t>könnte</a:t>
            </a:r>
            <a:r>
              <a:rPr lang="en-US" dirty="0"/>
              <a:t> </a:t>
            </a:r>
            <a:r>
              <a:rPr lang="en-US" dirty="0" err="1"/>
              <a:t>Ihre</a:t>
            </a:r>
            <a:r>
              <a:rPr lang="en-US" dirty="0"/>
              <a:t> </a:t>
            </a:r>
            <a:r>
              <a:rPr lang="en-US" dirty="0" err="1"/>
              <a:t>Überschrift</a:t>
            </a:r>
            <a:r>
              <a:rPr lang="en-US" dirty="0"/>
              <a:t> </a:t>
            </a:r>
            <a:r>
              <a:rPr lang="en-US" dirty="0" err="1"/>
              <a:t>stehen</a:t>
            </a:r>
            <a:endParaRPr lang="en-IN" dirty="0"/>
          </a:p>
        </p:txBody>
      </p:sp>
      <p:sp>
        <p:nvSpPr>
          <p:cNvPr id="23" name="Arc 23">
            <a:extLst>
              <a:ext uri="{FF2B5EF4-FFF2-40B4-BE49-F238E27FC236}">
                <a16:creationId xmlns:a16="http://schemas.microsoft.com/office/drawing/2014/main" xmlns="" id="{315F156E-78BA-414D-8E38-FB1AA3393070}"/>
              </a:ext>
            </a:extLst>
          </p:cNvPr>
          <p:cNvSpPr/>
          <p:nvPr userDrawn="1"/>
        </p:nvSpPr>
        <p:spPr>
          <a:xfrm rot="10800000">
            <a:off x="1487297" y="3420393"/>
            <a:ext cx="1997391" cy="1997395"/>
          </a:xfrm>
          <a:prstGeom prst="arc">
            <a:avLst>
              <a:gd name="adj1" fmla="val 7914138"/>
              <a:gd name="adj2" fmla="val 2868450"/>
            </a:avLst>
          </a:prstGeom>
          <a:ln w="88900" cap="rnd">
            <a:solidFill>
              <a:schemeClr val="accent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3199" b="1" dirty="0">
              <a:solidFill>
                <a:schemeClr val="tx2"/>
              </a:solidFill>
              <a:latin typeface="Roboto Bold" charset="0"/>
            </a:endParaRPr>
          </a:p>
        </p:txBody>
      </p:sp>
      <p:sp>
        <p:nvSpPr>
          <p:cNvPr id="24" name="Arc 24">
            <a:extLst>
              <a:ext uri="{FF2B5EF4-FFF2-40B4-BE49-F238E27FC236}">
                <a16:creationId xmlns:a16="http://schemas.microsoft.com/office/drawing/2014/main" xmlns="" id="{464178C0-6AD0-477F-9B24-ADE95D1238C6}"/>
              </a:ext>
            </a:extLst>
          </p:cNvPr>
          <p:cNvSpPr/>
          <p:nvPr userDrawn="1"/>
        </p:nvSpPr>
        <p:spPr>
          <a:xfrm>
            <a:off x="2833754" y="1948356"/>
            <a:ext cx="1997391" cy="1997395"/>
          </a:xfrm>
          <a:prstGeom prst="arc">
            <a:avLst>
              <a:gd name="adj1" fmla="val 7914138"/>
              <a:gd name="adj2" fmla="val 2868450"/>
            </a:avLst>
          </a:prstGeom>
          <a:ln w="88900" cap="rnd">
            <a:solidFill>
              <a:schemeClr val="accent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3199" b="1" dirty="0">
              <a:solidFill>
                <a:schemeClr val="tx2"/>
              </a:solidFill>
              <a:latin typeface="Roboto Bold" charset="0"/>
            </a:endParaRPr>
          </a:p>
        </p:txBody>
      </p:sp>
      <p:sp>
        <p:nvSpPr>
          <p:cNvPr id="26" name="Arc 26">
            <a:extLst>
              <a:ext uri="{FF2B5EF4-FFF2-40B4-BE49-F238E27FC236}">
                <a16:creationId xmlns:a16="http://schemas.microsoft.com/office/drawing/2014/main" xmlns="" id="{2B5D5254-973E-4F57-85FB-489599F5A0BA}"/>
              </a:ext>
            </a:extLst>
          </p:cNvPr>
          <p:cNvSpPr/>
          <p:nvPr userDrawn="1"/>
        </p:nvSpPr>
        <p:spPr>
          <a:xfrm rot="10800000">
            <a:off x="4182552" y="3420393"/>
            <a:ext cx="1997391" cy="1997395"/>
          </a:xfrm>
          <a:prstGeom prst="arc">
            <a:avLst>
              <a:gd name="adj1" fmla="val 7914138"/>
              <a:gd name="adj2" fmla="val 2868450"/>
            </a:avLst>
          </a:prstGeom>
          <a:ln w="88900" cap="rnd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3199" b="1" dirty="0">
              <a:solidFill>
                <a:schemeClr val="tx2"/>
              </a:solidFill>
              <a:latin typeface="Roboto Bold" charset="0"/>
            </a:endParaRPr>
          </a:p>
        </p:txBody>
      </p:sp>
      <p:sp>
        <p:nvSpPr>
          <p:cNvPr id="27" name="Arc 36">
            <a:extLst>
              <a:ext uri="{FF2B5EF4-FFF2-40B4-BE49-F238E27FC236}">
                <a16:creationId xmlns:a16="http://schemas.microsoft.com/office/drawing/2014/main" xmlns="" id="{8ECA0673-6AA5-416D-8003-F851CE43941E}"/>
              </a:ext>
            </a:extLst>
          </p:cNvPr>
          <p:cNvSpPr/>
          <p:nvPr userDrawn="1"/>
        </p:nvSpPr>
        <p:spPr>
          <a:xfrm>
            <a:off x="5550518" y="1961608"/>
            <a:ext cx="1997391" cy="1997395"/>
          </a:xfrm>
          <a:prstGeom prst="arc">
            <a:avLst>
              <a:gd name="adj1" fmla="val 7914138"/>
              <a:gd name="adj2" fmla="val 2868450"/>
            </a:avLst>
          </a:prstGeom>
          <a:ln w="88900" cap="rnd">
            <a:solidFill>
              <a:schemeClr val="accent4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3199" b="1" dirty="0">
              <a:solidFill>
                <a:schemeClr val="tx2"/>
              </a:solidFill>
              <a:latin typeface="Roboto Bold" charset="0"/>
            </a:endParaRPr>
          </a:p>
        </p:txBody>
      </p:sp>
      <p:sp>
        <p:nvSpPr>
          <p:cNvPr id="28" name="Arc 40">
            <a:extLst>
              <a:ext uri="{FF2B5EF4-FFF2-40B4-BE49-F238E27FC236}">
                <a16:creationId xmlns:a16="http://schemas.microsoft.com/office/drawing/2014/main" xmlns="" id="{ED6F0805-11E8-4E24-AC04-EC52BC19996A}"/>
              </a:ext>
            </a:extLst>
          </p:cNvPr>
          <p:cNvSpPr/>
          <p:nvPr userDrawn="1"/>
        </p:nvSpPr>
        <p:spPr>
          <a:xfrm rot="10800000">
            <a:off x="6912876" y="3420393"/>
            <a:ext cx="1997391" cy="1997395"/>
          </a:xfrm>
          <a:prstGeom prst="arc">
            <a:avLst>
              <a:gd name="adj1" fmla="val 7914138"/>
              <a:gd name="adj2" fmla="val 2868450"/>
            </a:avLst>
          </a:prstGeom>
          <a:ln w="88900" cap="rnd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3199" b="1" dirty="0">
              <a:solidFill>
                <a:schemeClr val="tx2"/>
              </a:solidFill>
              <a:latin typeface="Roboto Bold" charset="0"/>
            </a:endParaRPr>
          </a:p>
        </p:txBody>
      </p:sp>
      <p:sp>
        <p:nvSpPr>
          <p:cNvPr id="30" name="Oval 41">
            <a:extLst>
              <a:ext uri="{FF2B5EF4-FFF2-40B4-BE49-F238E27FC236}">
                <a16:creationId xmlns:a16="http://schemas.microsoft.com/office/drawing/2014/main" xmlns="" id="{39DE561A-9179-40C8-A205-EE2D4C8927AD}"/>
              </a:ext>
            </a:extLst>
          </p:cNvPr>
          <p:cNvSpPr/>
          <p:nvPr userDrawn="1"/>
        </p:nvSpPr>
        <p:spPr>
          <a:xfrm rot="10800000">
            <a:off x="7496946" y="4975189"/>
            <a:ext cx="829253" cy="829253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2833" tIns="118841" rIns="0" bIns="0" rtlCol="0" anchor="ctr"/>
          <a:lstStyle/>
          <a:p>
            <a:pPr algn="ctr"/>
            <a:endParaRPr lang="en-US" sz="3199" b="1" dirty="0">
              <a:solidFill>
                <a:schemeClr val="tx2"/>
              </a:solidFill>
              <a:latin typeface="Roboto Bold" charset="0"/>
            </a:endParaRPr>
          </a:p>
        </p:txBody>
      </p:sp>
      <p:sp>
        <p:nvSpPr>
          <p:cNvPr id="31" name="Oval 42">
            <a:extLst>
              <a:ext uri="{FF2B5EF4-FFF2-40B4-BE49-F238E27FC236}">
                <a16:creationId xmlns:a16="http://schemas.microsoft.com/office/drawing/2014/main" xmlns="" id="{2F642C47-2CDE-480E-AAC3-0C1616DAC067}"/>
              </a:ext>
            </a:extLst>
          </p:cNvPr>
          <p:cNvSpPr/>
          <p:nvPr userDrawn="1"/>
        </p:nvSpPr>
        <p:spPr>
          <a:xfrm rot="10800000">
            <a:off x="6134588" y="1546981"/>
            <a:ext cx="829253" cy="829253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65107" tIns="118841" rIns="0" bIns="0" rtlCol="0" anchor="ctr"/>
          <a:lstStyle/>
          <a:p>
            <a:pPr algn="ctr"/>
            <a:endParaRPr lang="en-US" sz="3199" b="1" dirty="0">
              <a:solidFill>
                <a:schemeClr val="tx2"/>
              </a:solidFill>
              <a:latin typeface="Roboto Bold" charset="0"/>
            </a:endParaRPr>
          </a:p>
        </p:txBody>
      </p:sp>
      <p:sp>
        <p:nvSpPr>
          <p:cNvPr id="32" name="Oval 43">
            <a:extLst>
              <a:ext uri="{FF2B5EF4-FFF2-40B4-BE49-F238E27FC236}">
                <a16:creationId xmlns:a16="http://schemas.microsoft.com/office/drawing/2014/main" xmlns="" id="{EE31AA18-B853-468D-B3A5-44D8D610FE81}"/>
              </a:ext>
            </a:extLst>
          </p:cNvPr>
          <p:cNvSpPr/>
          <p:nvPr userDrawn="1"/>
        </p:nvSpPr>
        <p:spPr>
          <a:xfrm rot="10800000">
            <a:off x="4772231" y="4975189"/>
            <a:ext cx="829253" cy="829253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2833" tIns="118841" rIns="0" bIns="0" rtlCol="0" anchor="ctr"/>
          <a:lstStyle/>
          <a:p>
            <a:pPr algn="ctr"/>
            <a:endParaRPr lang="en-US" sz="3199" b="1" dirty="0">
              <a:solidFill>
                <a:schemeClr val="tx2"/>
              </a:solidFill>
              <a:latin typeface="Roboto Bold" charset="0"/>
            </a:endParaRPr>
          </a:p>
        </p:txBody>
      </p:sp>
      <p:sp>
        <p:nvSpPr>
          <p:cNvPr id="34" name="Oval 44">
            <a:extLst>
              <a:ext uri="{FF2B5EF4-FFF2-40B4-BE49-F238E27FC236}">
                <a16:creationId xmlns:a16="http://schemas.microsoft.com/office/drawing/2014/main" xmlns="" id="{316F0C1F-F966-4636-903F-6CFB7ED3BEAC}"/>
              </a:ext>
            </a:extLst>
          </p:cNvPr>
          <p:cNvSpPr/>
          <p:nvPr userDrawn="1"/>
        </p:nvSpPr>
        <p:spPr>
          <a:xfrm rot="10800000">
            <a:off x="3417823" y="1533729"/>
            <a:ext cx="829253" cy="829253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2833" tIns="118841" rIns="0" bIns="0" rtlCol="0" anchor="ctr"/>
          <a:lstStyle/>
          <a:p>
            <a:pPr algn="ctr"/>
            <a:endParaRPr lang="en-US" sz="3199" b="1" dirty="0">
              <a:solidFill>
                <a:schemeClr val="tx2"/>
              </a:solidFill>
              <a:latin typeface="Roboto Bold" charset="0"/>
            </a:endParaRPr>
          </a:p>
        </p:txBody>
      </p:sp>
      <p:sp>
        <p:nvSpPr>
          <p:cNvPr id="36" name="Oval 45">
            <a:extLst>
              <a:ext uri="{FF2B5EF4-FFF2-40B4-BE49-F238E27FC236}">
                <a16:creationId xmlns:a16="http://schemas.microsoft.com/office/drawing/2014/main" xmlns="" id="{BDB98231-51C5-41B5-9AA1-AD20CC046873}"/>
              </a:ext>
            </a:extLst>
          </p:cNvPr>
          <p:cNvSpPr/>
          <p:nvPr userDrawn="1"/>
        </p:nvSpPr>
        <p:spPr>
          <a:xfrm rot="10800000">
            <a:off x="2071366" y="4975189"/>
            <a:ext cx="829253" cy="829253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2833" tIns="118841" rIns="0" bIns="0" rtlCol="0" anchor="ctr"/>
          <a:lstStyle/>
          <a:p>
            <a:pPr algn="ctr"/>
            <a:endParaRPr lang="en-US" sz="3199" b="1" dirty="0">
              <a:solidFill>
                <a:schemeClr val="tx2"/>
              </a:solidFill>
              <a:latin typeface="Roboto Bold" charset="0"/>
            </a:endParaRPr>
          </a:p>
        </p:txBody>
      </p:sp>
      <p:grpSp>
        <p:nvGrpSpPr>
          <p:cNvPr id="37" name="Gruppieren 36">
            <a:extLst>
              <a:ext uri="{FF2B5EF4-FFF2-40B4-BE49-F238E27FC236}">
                <a16:creationId xmlns:a16="http://schemas.microsoft.com/office/drawing/2014/main" xmlns="" id="{213AB007-E04E-4B36-958F-D13185F98D84}"/>
              </a:ext>
            </a:extLst>
          </p:cNvPr>
          <p:cNvGrpSpPr/>
          <p:nvPr userDrawn="1"/>
        </p:nvGrpSpPr>
        <p:grpSpPr>
          <a:xfrm rot="10800000">
            <a:off x="8248110" y="1549631"/>
            <a:ext cx="1997391" cy="2384049"/>
            <a:chOff x="1816968" y="3572793"/>
            <a:chExt cx="1997391" cy="2384049"/>
          </a:xfrm>
        </p:grpSpPr>
        <p:sp>
          <p:nvSpPr>
            <p:cNvPr id="38" name="Arc 23">
              <a:extLst>
                <a:ext uri="{FF2B5EF4-FFF2-40B4-BE49-F238E27FC236}">
                  <a16:creationId xmlns:a16="http://schemas.microsoft.com/office/drawing/2014/main" xmlns="" id="{6AF4329E-3C95-4851-A015-F052BEC86D8D}"/>
                </a:ext>
              </a:extLst>
            </p:cNvPr>
            <p:cNvSpPr/>
            <p:nvPr/>
          </p:nvSpPr>
          <p:spPr>
            <a:xfrm rot="10800000">
              <a:off x="1816968" y="3572793"/>
              <a:ext cx="1997391" cy="1997395"/>
            </a:xfrm>
            <a:prstGeom prst="arc">
              <a:avLst>
                <a:gd name="adj1" fmla="val 7914138"/>
                <a:gd name="adj2" fmla="val 2868450"/>
              </a:avLst>
            </a:prstGeom>
            <a:ln w="88900" cap="rnd">
              <a:solidFill>
                <a:schemeClr val="accent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3199" b="1" dirty="0">
                <a:solidFill>
                  <a:schemeClr val="tx2"/>
                </a:solidFill>
                <a:latin typeface="Roboto Bold" charset="0"/>
              </a:endParaRPr>
            </a:p>
          </p:txBody>
        </p:sp>
        <p:sp>
          <p:nvSpPr>
            <p:cNvPr id="39" name="Oval 45">
              <a:extLst>
                <a:ext uri="{FF2B5EF4-FFF2-40B4-BE49-F238E27FC236}">
                  <a16:creationId xmlns:a16="http://schemas.microsoft.com/office/drawing/2014/main" xmlns="" id="{67D9C392-C1AB-43FA-9D7D-AAD554137ED4}"/>
                </a:ext>
              </a:extLst>
            </p:cNvPr>
            <p:cNvSpPr/>
            <p:nvPr/>
          </p:nvSpPr>
          <p:spPr>
            <a:xfrm rot="10800000">
              <a:off x="2401037" y="5127589"/>
              <a:ext cx="829253" cy="82925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2833" tIns="118841" rIns="0" bIns="0" rtlCol="0" anchor="ctr"/>
            <a:lstStyle/>
            <a:p>
              <a:pPr algn="ctr"/>
              <a:endParaRPr lang="en-US" sz="3199" b="1" dirty="0">
                <a:solidFill>
                  <a:schemeClr val="tx2"/>
                </a:solidFill>
                <a:latin typeface="Roboto Bold" charset="0"/>
              </a:endParaRPr>
            </a:p>
          </p:txBody>
        </p:sp>
      </p:grpSp>
      <p:grpSp>
        <p:nvGrpSpPr>
          <p:cNvPr id="40" name="Gruppieren 39">
            <a:extLst>
              <a:ext uri="{FF2B5EF4-FFF2-40B4-BE49-F238E27FC236}">
                <a16:creationId xmlns:a16="http://schemas.microsoft.com/office/drawing/2014/main" xmlns="" id="{02316CE7-3E94-4CF7-A49D-13BD9F7BCD17}"/>
              </a:ext>
            </a:extLst>
          </p:cNvPr>
          <p:cNvGrpSpPr/>
          <p:nvPr userDrawn="1"/>
        </p:nvGrpSpPr>
        <p:grpSpPr>
          <a:xfrm flipV="1">
            <a:off x="-3114902" y="1935565"/>
            <a:ext cx="5225852" cy="2042543"/>
            <a:chOff x="-1738482" y="3420393"/>
            <a:chExt cx="5225852" cy="1997396"/>
          </a:xfrm>
        </p:grpSpPr>
        <p:sp>
          <p:nvSpPr>
            <p:cNvPr id="41" name="Arc 23">
              <a:extLst>
                <a:ext uri="{FF2B5EF4-FFF2-40B4-BE49-F238E27FC236}">
                  <a16:creationId xmlns:a16="http://schemas.microsoft.com/office/drawing/2014/main" xmlns="" id="{207258EE-8983-4025-A157-7EC508E50C55}"/>
                </a:ext>
              </a:extLst>
            </p:cNvPr>
            <p:cNvSpPr/>
            <p:nvPr/>
          </p:nvSpPr>
          <p:spPr>
            <a:xfrm rot="10800000">
              <a:off x="1489979" y="3420393"/>
              <a:ext cx="1997391" cy="1997395"/>
            </a:xfrm>
            <a:prstGeom prst="arc">
              <a:avLst>
                <a:gd name="adj1" fmla="val 7914138"/>
                <a:gd name="adj2" fmla="val 16202208"/>
              </a:avLst>
            </a:prstGeom>
            <a:ln w="88900" cap="rnd">
              <a:solidFill>
                <a:schemeClr val="accent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3199" b="1" dirty="0">
                <a:solidFill>
                  <a:schemeClr val="tx2"/>
                </a:solidFill>
                <a:latin typeface="Roboto Bold" charset="0"/>
              </a:endParaRPr>
            </a:p>
          </p:txBody>
        </p:sp>
        <p:cxnSp>
          <p:nvCxnSpPr>
            <p:cNvPr id="42" name="Gerader Verbinder 41">
              <a:extLst>
                <a:ext uri="{FF2B5EF4-FFF2-40B4-BE49-F238E27FC236}">
                  <a16:creationId xmlns:a16="http://schemas.microsoft.com/office/drawing/2014/main" xmlns="" id="{CE552398-4F2F-4700-9413-67A049CB7BCF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-1738482" y="5417788"/>
              <a:ext cx="4218757" cy="1"/>
            </a:xfrm>
            <a:prstGeom prst="line">
              <a:avLst/>
            </a:prstGeom>
            <a:ln w="88900"/>
          </p:spPr>
          <p:style>
            <a:lnRef idx="3">
              <a:schemeClr val="accent1"/>
            </a:lnRef>
            <a:fillRef idx="0">
              <a:schemeClr val="accent1"/>
            </a:fillRef>
            <a:effectRef idx="2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3" name="Gruppieren 52">
            <a:extLst>
              <a:ext uri="{FF2B5EF4-FFF2-40B4-BE49-F238E27FC236}">
                <a16:creationId xmlns:a16="http://schemas.microsoft.com/office/drawing/2014/main" xmlns="" id="{DA0553E7-57C4-4646-A970-27188BC67B2D}"/>
              </a:ext>
            </a:extLst>
          </p:cNvPr>
          <p:cNvGrpSpPr/>
          <p:nvPr userDrawn="1"/>
        </p:nvGrpSpPr>
        <p:grpSpPr>
          <a:xfrm flipH="1">
            <a:off x="9672929" y="3332269"/>
            <a:ext cx="5225852" cy="1997396"/>
            <a:chOff x="-1738482" y="3420393"/>
            <a:chExt cx="5225852" cy="1997396"/>
          </a:xfrm>
        </p:grpSpPr>
        <p:sp>
          <p:nvSpPr>
            <p:cNvPr id="54" name="Arc 23">
              <a:extLst>
                <a:ext uri="{FF2B5EF4-FFF2-40B4-BE49-F238E27FC236}">
                  <a16:creationId xmlns:a16="http://schemas.microsoft.com/office/drawing/2014/main" xmlns="" id="{618FD7B8-7B9A-456D-AB79-A4743D053434}"/>
                </a:ext>
              </a:extLst>
            </p:cNvPr>
            <p:cNvSpPr/>
            <p:nvPr/>
          </p:nvSpPr>
          <p:spPr>
            <a:xfrm rot="10800000">
              <a:off x="1489979" y="3420393"/>
              <a:ext cx="1997391" cy="1997395"/>
            </a:xfrm>
            <a:prstGeom prst="arc">
              <a:avLst>
                <a:gd name="adj1" fmla="val 7914138"/>
                <a:gd name="adj2" fmla="val 16202208"/>
              </a:avLst>
            </a:prstGeom>
            <a:ln w="88900" cap="rnd">
              <a:solidFill>
                <a:schemeClr val="accent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3199" b="1" dirty="0">
                <a:solidFill>
                  <a:schemeClr val="tx2"/>
                </a:solidFill>
                <a:latin typeface="Roboto Bold" charset="0"/>
              </a:endParaRPr>
            </a:p>
          </p:txBody>
        </p:sp>
        <p:cxnSp>
          <p:nvCxnSpPr>
            <p:cNvPr id="55" name="Gerader Verbinder 54">
              <a:extLst>
                <a:ext uri="{FF2B5EF4-FFF2-40B4-BE49-F238E27FC236}">
                  <a16:creationId xmlns:a16="http://schemas.microsoft.com/office/drawing/2014/main" xmlns="" id="{7076AE0D-4F41-4BE3-BA73-40E4C350B88D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-1738482" y="5417788"/>
              <a:ext cx="4218757" cy="1"/>
            </a:xfrm>
            <a:prstGeom prst="line">
              <a:avLst/>
            </a:prstGeom>
            <a:ln w="88900"/>
          </p:spPr>
          <p:style>
            <a:lnRef idx="3">
              <a:schemeClr val="accent1"/>
            </a:lnRef>
            <a:fillRef idx="0">
              <a:schemeClr val="accent1"/>
            </a:fillRef>
            <a:effectRef idx="2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537338839"/>
      </p:ext>
    </p:extLst>
  </p:cSld>
  <p:clrMapOvr>
    <a:masterClrMapping/>
  </p:clrMapOvr>
  <p:extLst>
    <p:ext uri="{DCECCB84-F9BA-43D5-87BE-67443E8EF086}">
      <p15:sldGuideLst xmlns:p15="http://schemas.microsoft.com/office/powerpoint/2012/main" xmlns="">
        <p15:guide id="1" orient="horz" pos="391">
          <p15:clr>
            <a:srgbClr val="FBAE40"/>
          </p15:clr>
        </p15:guide>
        <p15:guide id="3" pos="3840">
          <p15:clr>
            <a:srgbClr val="FBAE40"/>
          </p15:clr>
        </p15:guide>
        <p15:guide id="4" pos="438">
          <p15:clr>
            <a:srgbClr val="FBAE40"/>
          </p15:clr>
        </p15:guide>
        <p15:guide id="5" pos="2593">
          <p15:clr>
            <a:srgbClr val="FBAE40"/>
          </p15:clr>
        </p15:guide>
        <p15:guide id="6" orient="horz" pos="2840">
          <p15:clr>
            <a:srgbClr val="FBAE40"/>
          </p15:clr>
        </p15:guide>
        <p15:guide id="7" orient="horz" pos="2568">
          <p15:clr>
            <a:srgbClr val="FBAE40"/>
          </p15:clr>
        </p15:guide>
        <p15:guide id="8" pos="4498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Überschrift und Abfolge Platz für Icons 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5E8BE331-C93C-4A62-8706-E5CDAF2B355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6000" y="576000"/>
            <a:ext cx="10515600" cy="427877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3200" baseline="0">
                <a:solidFill>
                  <a:srgbClr val="FFFFFF"/>
                </a:solidFill>
                <a:latin typeface="Roboto Medium" panose="02000000000000000000" pitchFamily="2" charset="0"/>
                <a:ea typeface="Roboto Medium" panose="02000000000000000000" pitchFamily="2" charset="0"/>
              </a:defRPr>
            </a:lvl1pPr>
          </a:lstStyle>
          <a:p>
            <a:r>
              <a:rPr lang="en-US" dirty="0" err="1"/>
              <a:t>Hier</a:t>
            </a:r>
            <a:r>
              <a:rPr lang="en-US" dirty="0"/>
              <a:t> </a:t>
            </a:r>
            <a:r>
              <a:rPr lang="en-US" dirty="0" err="1"/>
              <a:t>könnte</a:t>
            </a:r>
            <a:r>
              <a:rPr lang="en-US" dirty="0"/>
              <a:t> </a:t>
            </a:r>
            <a:r>
              <a:rPr lang="en-US" dirty="0" err="1"/>
              <a:t>Ihre</a:t>
            </a:r>
            <a:r>
              <a:rPr lang="en-US" dirty="0"/>
              <a:t> </a:t>
            </a:r>
            <a:r>
              <a:rPr lang="en-US" dirty="0" err="1"/>
              <a:t>Überschrift</a:t>
            </a:r>
            <a:r>
              <a:rPr lang="en-US" dirty="0"/>
              <a:t> </a:t>
            </a:r>
            <a:r>
              <a:rPr lang="en-US" dirty="0" err="1"/>
              <a:t>stehen</a:t>
            </a:r>
            <a:endParaRPr lang="en-IN" dirty="0"/>
          </a:p>
        </p:txBody>
      </p:sp>
      <p:sp>
        <p:nvSpPr>
          <p:cNvPr id="22" name="Arc 24">
            <a:extLst>
              <a:ext uri="{FF2B5EF4-FFF2-40B4-BE49-F238E27FC236}">
                <a16:creationId xmlns:a16="http://schemas.microsoft.com/office/drawing/2014/main" xmlns="" id="{FCF08C51-551D-4777-B65F-39823A6F8B26}"/>
              </a:ext>
            </a:extLst>
          </p:cNvPr>
          <p:cNvSpPr/>
          <p:nvPr userDrawn="1"/>
        </p:nvSpPr>
        <p:spPr>
          <a:xfrm>
            <a:off x="3758031" y="1948356"/>
            <a:ext cx="1997391" cy="1997395"/>
          </a:xfrm>
          <a:prstGeom prst="arc">
            <a:avLst>
              <a:gd name="adj1" fmla="val 7914138"/>
              <a:gd name="adj2" fmla="val 2868450"/>
            </a:avLst>
          </a:prstGeom>
          <a:ln w="88900" cap="rnd">
            <a:solidFill>
              <a:srgbClr val="142F4E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3199" b="1" dirty="0">
              <a:solidFill>
                <a:schemeClr val="tx2"/>
              </a:solidFill>
              <a:latin typeface="Roboto Bold" charset="0"/>
            </a:endParaRPr>
          </a:p>
        </p:txBody>
      </p:sp>
      <p:sp>
        <p:nvSpPr>
          <p:cNvPr id="25" name="Arc 26">
            <a:extLst>
              <a:ext uri="{FF2B5EF4-FFF2-40B4-BE49-F238E27FC236}">
                <a16:creationId xmlns:a16="http://schemas.microsoft.com/office/drawing/2014/main" xmlns="" id="{005F7BBC-F0FD-4E79-86CC-8CCD2B286F6C}"/>
              </a:ext>
            </a:extLst>
          </p:cNvPr>
          <p:cNvSpPr/>
          <p:nvPr userDrawn="1"/>
        </p:nvSpPr>
        <p:spPr>
          <a:xfrm rot="10800000">
            <a:off x="5106829" y="3420393"/>
            <a:ext cx="1997391" cy="1997395"/>
          </a:xfrm>
          <a:prstGeom prst="arc">
            <a:avLst>
              <a:gd name="adj1" fmla="val 7914138"/>
              <a:gd name="adj2" fmla="val 2868450"/>
            </a:avLst>
          </a:prstGeom>
          <a:ln w="88900" cap="rnd">
            <a:solidFill>
              <a:srgbClr val="E1D6BC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3199" b="1" dirty="0">
              <a:solidFill>
                <a:schemeClr val="tx2"/>
              </a:solidFill>
              <a:latin typeface="Roboto Bold" charset="0"/>
            </a:endParaRPr>
          </a:p>
        </p:txBody>
      </p:sp>
      <p:sp>
        <p:nvSpPr>
          <p:cNvPr id="29" name="Arc 36">
            <a:extLst>
              <a:ext uri="{FF2B5EF4-FFF2-40B4-BE49-F238E27FC236}">
                <a16:creationId xmlns:a16="http://schemas.microsoft.com/office/drawing/2014/main" xmlns="" id="{2151A2C2-6B89-478A-972C-009C0921C65A}"/>
              </a:ext>
            </a:extLst>
          </p:cNvPr>
          <p:cNvSpPr/>
          <p:nvPr userDrawn="1"/>
        </p:nvSpPr>
        <p:spPr>
          <a:xfrm>
            <a:off x="6472454" y="1961608"/>
            <a:ext cx="1997391" cy="1997395"/>
          </a:xfrm>
          <a:prstGeom prst="arc">
            <a:avLst>
              <a:gd name="adj1" fmla="val 7914138"/>
              <a:gd name="adj2" fmla="val 2868450"/>
            </a:avLst>
          </a:prstGeom>
          <a:ln w="88900" cap="rnd">
            <a:solidFill>
              <a:srgbClr val="CCECF9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3199" b="1" dirty="0">
              <a:solidFill>
                <a:schemeClr val="tx2"/>
              </a:solidFill>
              <a:latin typeface="Roboto Bold" charset="0"/>
            </a:endParaRPr>
          </a:p>
        </p:txBody>
      </p:sp>
      <p:sp>
        <p:nvSpPr>
          <p:cNvPr id="33" name="Oval 41">
            <a:extLst>
              <a:ext uri="{FF2B5EF4-FFF2-40B4-BE49-F238E27FC236}">
                <a16:creationId xmlns:a16="http://schemas.microsoft.com/office/drawing/2014/main" xmlns="" id="{8E15561C-E8E9-4871-8421-61B7EE02E30F}"/>
              </a:ext>
            </a:extLst>
          </p:cNvPr>
          <p:cNvSpPr/>
          <p:nvPr userDrawn="1"/>
        </p:nvSpPr>
        <p:spPr>
          <a:xfrm rot="10800000">
            <a:off x="7056522" y="1527783"/>
            <a:ext cx="829253" cy="829253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2833" tIns="118841" rIns="0" bIns="0" rtlCol="0" anchor="ctr"/>
          <a:lstStyle/>
          <a:p>
            <a:pPr algn="ctr"/>
            <a:endParaRPr lang="en-US" sz="3199" b="1" dirty="0">
              <a:solidFill>
                <a:schemeClr val="tx2"/>
              </a:solidFill>
              <a:latin typeface="Roboto Bold" charset="0"/>
            </a:endParaRPr>
          </a:p>
        </p:txBody>
      </p:sp>
      <p:sp>
        <p:nvSpPr>
          <p:cNvPr id="35" name="Oval 43">
            <a:extLst>
              <a:ext uri="{FF2B5EF4-FFF2-40B4-BE49-F238E27FC236}">
                <a16:creationId xmlns:a16="http://schemas.microsoft.com/office/drawing/2014/main" xmlns="" id="{324F29AB-FEB1-40C5-83C3-A68EFB49F100}"/>
              </a:ext>
            </a:extLst>
          </p:cNvPr>
          <p:cNvSpPr/>
          <p:nvPr userDrawn="1"/>
        </p:nvSpPr>
        <p:spPr>
          <a:xfrm rot="10800000">
            <a:off x="5681373" y="4975189"/>
            <a:ext cx="829253" cy="829253"/>
          </a:xfrm>
          <a:prstGeom prst="ellipse">
            <a:avLst/>
          </a:prstGeom>
          <a:solidFill>
            <a:srgbClr val="E1D6B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2833" tIns="118841" rIns="0" bIns="0" rtlCol="0" anchor="ctr"/>
          <a:lstStyle/>
          <a:p>
            <a:pPr algn="ctr"/>
            <a:endParaRPr lang="en-US" sz="3199" b="1" dirty="0">
              <a:solidFill>
                <a:schemeClr val="tx2"/>
              </a:solidFill>
              <a:latin typeface="Roboto Bold" charset="0"/>
            </a:endParaRPr>
          </a:p>
        </p:txBody>
      </p:sp>
      <p:sp>
        <p:nvSpPr>
          <p:cNvPr id="43" name="Oval 44">
            <a:extLst>
              <a:ext uri="{FF2B5EF4-FFF2-40B4-BE49-F238E27FC236}">
                <a16:creationId xmlns:a16="http://schemas.microsoft.com/office/drawing/2014/main" xmlns="" id="{A2E915BF-E38E-4DCA-9C30-AF4B972923E3}"/>
              </a:ext>
            </a:extLst>
          </p:cNvPr>
          <p:cNvSpPr/>
          <p:nvPr userDrawn="1"/>
        </p:nvSpPr>
        <p:spPr>
          <a:xfrm rot="10800000">
            <a:off x="4342100" y="1533729"/>
            <a:ext cx="829253" cy="829253"/>
          </a:xfrm>
          <a:prstGeom prst="ellipse">
            <a:avLst/>
          </a:prstGeom>
          <a:solidFill>
            <a:srgbClr val="142F4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2833" tIns="118841" rIns="0" bIns="0" rtlCol="0" anchor="ctr"/>
          <a:lstStyle/>
          <a:p>
            <a:pPr algn="ctr"/>
            <a:endParaRPr lang="en-US" sz="3199" b="1" dirty="0">
              <a:solidFill>
                <a:schemeClr val="tx2"/>
              </a:solidFill>
              <a:latin typeface="Roboto Bold" charset="0"/>
            </a:endParaRPr>
          </a:p>
        </p:txBody>
      </p:sp>
      <p:grpSp>
        <p:nvGrpSpPr>
          <p:cNvPr id="44" name="Gruppieren 43">
            <a:extLst>
              <a:ext uri="{FF2B5EF4-FFF2-40B4-BE49-F238E27FC236}">
                <a16:creationId xmlns:a16="http://schemas.microsoft.com/office/drawing/2014/main" xmlns="" id="{919D05EC-F036-4062-A5F5-BDCDFA1E91D7}"/>
              </a:ext>
            </a:extLst>
          </p:cNvPr>
          <p:cNvGrpSpPr/>
          <p:nvPr userDrawn="1"/>
        </p:nvGrpSpPr>
        <p:grpSpPr>
          <a:xfrm>
            <a:off x="-819815" y="3420393"/>
            <a:ext cx="5225852" cy="1997396"/>
            <a:chOff x="-1738482" y="3420393"/>
            <a:chExt cx="5225852" cy="1997396"/>
          </a:xfrm>
        </p:grpSpPr>
        <p:sp>
          <p:nvSpPr>
            <p:cNvPr id="45" name="Arc 23">
              <a:extLst>
                <a:ext uri="{FF2B5EF4-FFF2-40B4-BE49-F238E27FC236}">
                  <a16:creationId xmlns:a16="http://schemas.microsoft.com/office/drawing/2014/main" xmlns="" id="{49B667A5-3DC0-43EC-9973-5427B718DF56}"/>
                </a:ext>
              </a:extLst>
            </p:cNvPr>
            <p:cNvSpPr/>
            <p:nvPr/>
          </p:nvSpPr>
          <p:spPr>
            <a:xfrm rot="10800000">
              <a:off x="1489979" y="3420393"/>
              <a:ext cx="1997391" cy="1997395"/>
            </a:xfrm>
            <a:prstGeom prst="arc">
              <a:avLst>
                <a:gd name="adj1" fmla="val 7914138"/>
                <a:gd name="adj2" fmla="val 16202208"/>
              </a:avLst>
            </a:prstGeom>
            <a:ln w="88900" cap="rnd">
              <a:solidFill>
                <a:schemeClr val="accent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3199" b="1" dirty="0">
                <a:solidFill>
                  <a:schemeClr val="tx2"/>
                </a:solidFill>
                <a:latin typeface="Roboto Bold" charset="0"/>
              </a:endParaRPr>
            </a:p>
          </p:txBody>
        </p:sp>
        <p:cxnSp>
          <p:nvCxnSpPr>
            <p:cNvPr id="46" name="Gerader Verbinder 45">
              <a:extLst>
                <a:ext uri="{FF2B5EF4-FFF2-40B4-BE49-F238E27FC236}">
                  <a16:creationId xmlns:a16="http://schemas.microsoft.com/office/drawing/2014/main" xmlns="" id="{262B73FB-5129-415F-A98B-15289E58AA13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-1738482" y="5417788"/>
              <a:ext cx="4218757" cy="1"/>
            </a:xfrm>
            <a:prstGeom prst="line">
              <a:avLst/>
            </a:prstGeom>
            <a:ln w="88900"/>
          </p:spPr>
          <p:style>
            <a:lnRef idx="3">
              <a:schemeClr val="accent1"/>
            </a:lnRef>
            <a:fillRef idx="0">
              <a:schemeClr val="accent1"/>
            </a:fillRef>
            <a:effectRef idx="2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7" name="Gruppieren 46">
            <a:extLst>
              <a:ext uri="{FF2B5EF4-FFF2-40B4-BE49-F238E27FC236}">
                <a16:creationId xmlns:a16="http://schemas.microsoft.com/office/drawing/2014/main" xmlns="" id="{08583742-4E0E-4407-AED6-CFFA3DAE7E0C}"/>
              </a:ext>
            </a:extLst>
          </p:cNvPr>
          <p:cNvGrpSpPr/>
          <p:nvPr userDrawn="1"/>
        </p:nvGrpSpPr>
        <p:grpSpPr>
          <a:xfrm>
            <a:off x="7826862" y="3429000"/>
            <a:ext cx="5559009" cy="1997396"/>
            <a:chOff x="7806117" y="3429000"/>
            <a:chExt cx="5559009" cy="1997396"/>
          </a:xfrm>
        </p:grpSpPr>
        <p:sp>
          <p:nvSpPr>
            <p:cNvPr id="48" name="Arc 23">
              <a:extLst>
                <a:ext uri="{FF2B5EF4-FFF2-40B4-BE49-F238E27FC236}">
                  <a16:creationId xmlns:a16="http://schemas.microsoft.com/office/drawing/2014/main" xmlns="" id="{1CAD2BA6-5A93-48D7-B7CB-48017CE30F15}"/>
                </a:ext>
              </a:extLst>
            </p:cNvPr>
            <p:cNvSpPr/>
            <p:nvPr/>
          </p:nvSpPr>
          <p:spPr>
            <a:xfrm rot="10800000" flipH="1">
              <a:off x="7806117" y="3429000"/>
              <a:ext cx="1996583" cy="1997395"/>
            </a:xfrm>
            <a:prstGeom prst="arc">
              <a:avLst>
                <a:gd name="adj1" fmla="val 7914138"/>
                <a:gd name="adj2" fmla="val 16202208"/>
              </a:avLst>
            </a:prstGeom>
            <a:ln w="88900" cap="rnd">
              <a:solidFill>
                <a:srgbClr val="CCECF9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3199" b="1" dirty="0">
                <a:solidFill>
                  <a:schemeClr val="tx2"/>
                </a:solidFill>
                <a:latin typeface="Roboto Bold" charset="0"/>
              </a:endParaRPr>
            </a:p>
          </p:txBody>
        </p:sp>
        <p:cxnSp>
          <p:nvCxnSpPr>
            <p:cNvPr id="49" name="Gerader Verbinder 48">
              <a:extLst>
                <a:ext uri="{FF2B5EF4-FFF2-40B4-BE49-F238E27FC236}">
                  <a16:creationId xmlns:a16="http://schemas.microsoft.com/office/drawing/2014/main" xmlns="" id="{BA0B8790-DB22-4393-A524-9B4B7B75DDA7}"/>
                </a:ext>
              </a:extLst>
            </p:cNvPr>
            <p:cNvCxnSpPr>
              <a:cxnSpLocks/>
            </p:cNvCxnSpPr>
            <p:nvPr/>
          </p:nvCxnSpPr>
          <p:spPr>
            <a:xfrm>
              <a:off x="8812806" y="5426396"/>
              <a:ext cx="4552320" cy="0"/>
            </a:xfrm>
            <a:prstGeom prst="line">
              <a:avLst/>
            </a:prstGeom>
            <a:ln w="88900">
              <a:solidFill>
                <a:srgbClr val="CCECF9"/>
              </a:solidFill>
            </a:ln>
          </p:spPr>
          <p:style>
            <a:lnRef idx="3">
              <a:schemeClr val="accent1"/>
            </a:lnRef>
            <a:fillRef idx="0">
              <a:schemeClr val="accent1"/>
            </a:fillRef>
            <a:effectRef idx="2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868658756"/>
      </p:ext>
    </p:extLst>
  </p:cSld>
  <p:clrMapOvr>
    <a:masterClrMapping/>
  </p:clrMapOvr>
  <p:extLst>
    <p:ext uri="{DCECCB84-F9BA-43D5-87BE-67443E8EF086}">
      <p15:sldGuideLst xmlns:p15="http://schemas.microsoft.com/office/powerpoint/2012/main" xmlns="">
        <p15:guide id="1" orient="horz" pos="391">
          <p15:clr>
            <a:srgbClr val="FBAE40"/>
          </p15:clr>
        </p15:guide>
        <p15:guide id="3" pos="3840">
          <p15:clr>
            <a:srgbClr val="FBAE40"/>
          </p15:clr>
        </p15:guide>
        <p15:guide id="4" pos="438">
          <p15:clr>
            <a:srgbClr val="FBAE40"/>
          </p15:clr>
        </p15:guide>
        <p15:guide id="5" pos="2593">
          <p15:clr>
            <a:srgbClr val="FBAE40"/>
          </p15:clr>
        </p15:guide>
        <p15:guide id="6" orient="horz" pos="2840">
          <p15:clr>
            <a:srgbClr val="FBAE40"/>
          </p15:clr>
        </p15:guide>
        <p15:guide id="7" orient="horz" pos="2568">
          <p15:clr>
            <a:srgbClr val="FBAE40"/>
          </p15:clr>
        </p15:guide>
        <p15:guide id="8" pos="4498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e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5E8BE331-C93C-4A62-8706-E5CDAF2B355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6000" y="576000"/>
            <a:ext cx="10515600" cy="427877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3200" baseline="0">
                <a:solidFill>
                  <a:srgbClr val="FFFFFF"/>
                </a:solidFill>
                <a:latin typeface="Roboto Medium" panose="02000000000000000000" pitchFamily="2" charset="0"/>
                <a:ea typeface="Roboto Medium" panose="02000000000000000000" pitchFamily="2" charset="0"/>
              </a:defRPr>
            </a:lvl1pPr>
          </a:lstStyle>
          <a:p>
            <a:r>
              <a:rPr lang="en-US" dirty="0" err="1"/>
              <a:t>Hier</a:t>
            </a:r>
            <a:r>
              <a:rPr lang="en-US" dirty="0"/>
              <a:t> </a:t>
            </a:r>
            <a:r>
              <a:rPr lang="en-US" dirty="0" err="1"/>
              <a:t>könnte</a:t>
            </a:r>
            <a:r>
              <a:rPr lang="en-US" dirty="0"/>
              <a:t> </a:t>
            </a:r>
            <a:r>
              <a:rPr lang="en-US" dirty="0" err="1"/>
              <a:t>Ihre</a:t>
            </a:r>
            <a:r>
              <a:rPr lang="en-US" dirty="0"/>
              <a:t> </a:t>
            </a:r>
            <a:r>
              <a:rPr lang="en-US" dirty="0" err="1"/>
              <a:t>Überschrift</a:t>
            </a:r>
            <a:r>
              <a:rPr lang="en-US" dirty="0"/>
              <a:t> </a:t>
            </a:r>
            <a:r>
              <a:rPr lang="en-US" dirty="0" err="1"/>
              <a:t>stehen</a:t>
            </a:r>
            <a:endParaRPr lang="en-IN" dirty="0"/>
          </a:p>
        </p:txBody>
      </p:sp>
      <p:sp>
        <p:nvSpPr>
          <p:cNvPr id="23" name="Freeform 53">
            <a:extLst>
              <a:ext uri="{FF2B5EF4-FFF2-40B4-BE49-F238E27FC236}">
                <a16:creationId xmlns:a16="http://schemas.microsoft.com/office/drawing/2014/main" xmlns="" id="{0592DF35-A862-4A5D-B70F-9C5ACE35FD6E}"/>
              </a:ext>
            </a:extLst>
          </p:cNvPr>
          <p:cNvSpPr>
            <a:spLocks noChangeArrowheads="1"/>
          </p:cNvSpPr>
          <p:nvPr userDrawn="1"/>
        </p:nvSpPr>
        <p:spPr bwMode="auto">
          <a:xfrm rot="20015839" flipH="1">
            <a:off x="-4698874" y="4640779"/>
            <a:ext cx="5902672" cy="3076040"/>
          </a:xfrm>
          <a:custGeom>
            <a:avLst/>
            <a:gdLst>
              <a:gd name="T0" fmla="*/ 42 w 8086"/>
              <a:gd name="T1" fmla="*/ 4120 h 4240"/>
              <a:gd name="T2" fmla="*/ 42 w 8086"/>
              <a:gd name="T3" fmla="*/ 4120 h 4240"/>
              <a:gd name="T4" fmla="*/ 272 w 8086"/>
              <a:gd name="T5" fmla="*/ 4197 h 4240"/>
              <a:gd name="T6" fmla="*/ 7967 w 8086"/>
              <a:gd name="T7" fmla="*/ 349 h 4240"/>
              <a:gd name="T8" fmla="*/ 7967 w 8086"/>
              <a:gd name="T9" fmla="*/ 349 h 4240"/>
              <a:gd name="T10" fmla="*/ 8043 w 8086"/>
              <a:gd name="T11" fmla="*/ 119 h 4240"/>
              <a:gd name="T12" fmla="*/ 8043 w 8086"/>
              <a:gd name="T13" fmla="*/ 119 h 4240"/>
              <a:gd name="T14" fmla="*/ 7814 w 8086"/>
              <a:gd name="T15" fmla="*/ 43 h 4240"/>
              <a:gd name="T16" fmla="*/ 118 w 8086"/>
              <a:gd name="T17" fmla="*/ 3891 h 4240"/>
              <a:gd name="T18" fmla="*/ 118 w 8086"/>
              <a:gd name="T19" fmla="*/ 3891 h 4240"/>
              <a:gd name="T20" fmla="*/ 42 w 8086"/>
              <a:gd name="T21" fmla="*/ 4120 h 42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8086" h="4240">
                <a:moveTo>
                  <a:pt x="42" y="4120"/>
                </a:moveTo>
                <a:lnTo>
                  <a:pt x="42" y="4120"/>
                </a:lnTo>
                <a:cubicBezTo>
                  <a:pt x="84" y="4205"/>
                  <a:pt x="187" y="4239"/>
                  <a:pt x="272" y="4197"/>
                </a:cubicBezTo>
                <a:lnTo>
                  <a:pt x="7967" y="349"/>
                </a:lnTo>
                <a:lnTo>
                  <a:pt x="7967" y="349"/>
                </a:lnTo>
                <a:cubicBezTo>
                  <a:pt x="8051" y="307"/>
                  <a:pt x="8085" y="204"/>
                  <a:pt x="8043" y="119"/>
                </a:cubicBezTo>
                <a:lnTo>
                  <a:pt x="8043" y="119"/>
                </a:lnTo>
                <a:cubicBezTo>
                  <a:pt x="8001" y="35"/>
                  <a:pt x="7899" y="0"/>
                  <a:pt x="7814" y="43"/>
                </a:cubicBezTo>
                <a:lnTo>
                  <a:pt x="118" y="3891"/>
                </a:lnTo>
                <a:lnTo>
                  <a:pt x="118" y="3891"/>
                </a:lnTo>
                <a:cubicBezTo>
                  <a:pt x="34" y="3933"/>
                  <a:pt x="0" y="4036"/>
                  <a:pt x="42" y="4120"/>
                </a:cubicBezTo>
              </a:path>
            </a:pathLst>
          </a:custGeom>
          <a:solidFill>
            <a:srgbClr val="142F4E"/>
          </a:solidFill>
          <a:ln>
            <a:noFill/>
          </a:ln>
          <a:effectLst/>
        </p:spPr>
        <p:txBody>
          <a:bodyPr wrap="none" anchor="ctr"/>
          <a:lstStyle/>
          <a:p>
            <a:endParaRPr lang="es-ES_tradnl"/>
          </a:p>
        </p:txBody>
      </p:sp>
      <p:sp>
        <p:nvSpPr>
          <p:cNvPr id="24" name="Freeform 54">
            <a:extLst>
              <a:ext uri="{FF2B5EF4-FFF2-40B4-BE49-F238E27FC236}">
                <a16:creationId xmlns:a16="http://schemas.microsoft.com/office/drawing/2014/main" xmlns="" id="{161C3B73-5634-4585-989E-16F9828F2E56}"/>
              </a:ext>
            </a:extLst>
          </p:cNvPr>
          <p:cNvSpPr>
            <a:spLocks noChangeArrowheads="1"/>
          </p:cNvSpPr>
          <p:nvPr userDrawn="1"/>
        </p:nvSpPr>
        <p:spPr bwMode="auto">
          <a:xfrm rot="20015839" flipH="1">
            <a:off x="1641720" y="5958885"/>
            <a:ext cx="621163" cy="450856"/>
          </a:xfrm>
          <a:custGeom>
            <a:avLst/>
            <a:gdLst>
              <a:gd name="T0" fmla="*/ 43 w 849"/>
              <a:gd name="T1" fmla="*/ 501 h 620"/>
              <a:gd name="T2" fmla="*/ 43 w 849"/>
              <a:gd name="T3" fmla="*/ 501 h 620"/>
              <a:gd name="T4" fmla="*/ 271 w 849"/>
              <a:gd name="T5" fmla="*/ 577 h 620"/>
              <a:gd name="T6" fmla="*/ 730 w 849"/>
              <a:gd name="T7" fmla="*/ 348 h 620"/>
              <a:gd name="T8" fmla="*/ 730 w 849"/>
              <a:gd name="T9" fmla="*/ 348 h 620"/>
              <a:gd name="T10" fmla="*/ 806 w 849"/>
              <a:gd name="T11" fmla="*/ 119 h 620"/>
              <a:gd name="T12" fmla="*/ 806 w 849"/>
              <a:gd name="T13" fmla="*/ 119 h 620"/>
              <a:gd name="T14" fmla="*/ 577 w 849"/>
              <a:gd name="T15" fmla="*/ 43 h 620"/>
              <a:gd name="T16" fmla="*/ 119 w 849"/>
              <a:gd name="T17" fmla="*/ 272 h 620"/>
              <a:gd name="T18" fmla="*/ 119 w 849"/>
              <a:gd name="T19" fmla="*/ 272 h 620"/>
              <a:gd name="T20" fmla="*/ 43 w 849"/>
              <a:gd name="T21" fmla="*/ 501 h 6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849" h="620">
                <a:moveTo>
                  <a:pt x="43" y="501"/>
                </a:moveTo>
                <a:lnTo>
                  <a:pt x="43" y="501"/>
                </a:lnTo>
                <a:cubicBezTo>
                  <a:pt x="85" y="586"/>
                  <a:pt x="187" y="619"/>
                  <a:pt x="271" y="577"/>
                </a:cubicBezTo>
                <a:lnTo>
                  <a:pt x="730" y="348"/>
                </a:lnTo>
                <a:lnTo>
                  <a:pt x="730" y="348"/>
                </a:lnTo>
                <a:cubicBezTo>
                  <a:pt x="814" y="306"/>
                  <a:pt x="848" y="204"/>
                  <a:pt x="806" y="119"/>
                </a:cubicBezTo>
                <a:lnTo>
                  <a:pt x="806" y="119"/>
                </a:lnTo>
                <a:cubicBezTo>
                  <a:pt x="764" y="35"/>
                  <a:pt x="661" y="0"/>
                  <a:pt x="577" y="43"/>
                </a:cubicBezTo>
                <a:lnTo>
                  <a:pt x="119" y="272"/>
                </a:lnTo>
                <a:lnTo>
                  <a:pt x="119" y="272"/>
                </a:lnTo>
                <a:cubicBezTo>
                  <a:pt x="34" y="314"/>
                  <a:pt x="0" y="416"/>
                  <a:pt x="43" y="501"/>
                </a:cubicBezTo>
              </a:path>
            </a:pathLst>
          </a:custGeom>
          <a:solidFill>
            <a:srgbClr val="142F4E"/>
          </a:solidFill>
          <a:ln>
            <a:noFill/>
          </a:ln>
          <a:effectLst/>
        </p:spPr>
        <p:txBody>
          <a:bodyPr wrap="none" anchor="ctr"/>
          <a:lstStyle/>
          <a:p>
            <a:endParaRPr lang="es-ES_tradnl"/>
          </a:p>
        </p:txBody>
      </p:sp>
      <p:sp>
        <p:nvSpPr>
          <p:cNvPr id="26" name="Freeform 55">
            <a:extLst>
              <a:ext uri="{FF2B5EF4-FFF2-40B4-BE49-F238E27FC236}">
                <a16:creationId xmlns:a16="http://schemas.microsoft.com/office/drawing/2014/main" xmlns="" id="{FE95B20C-46FD-4E9D-945C-C9A00AEE9130}"/>
              </a:ext>
            </a:extLst>
          </p:cNvPr>
          <p:cNvSpPr>
            <a:spLocks noChangeArrowheads="1"/>
          </p:cNvSpPr>
          <p:nvPr userDrawn="1"/>
        </p:nvSpPr>
        <p:spPr bwMode="auto">
          <a:xfrm rot="20015839" flipH="1">
            <a:off x="2402034" y="6042072"/>
            <a:ext cx="283226" cy="284583"/>
          </a:xfrm>
          <a:custGeom>
            <a:avLst/>
            <a:gdLst>
              <a:gd name="T0" fmla="*/ 42 w 390"/>
              <a:gd name="T1" fmla="*/ 271 h 391"/>
              <a:gd name="T2" fmla="*/ 42 w 390"/>
              <a:gd name="T3" fmla="*/ 271 h 391"/>
              <a:gd name="T4" fmla="*/ 270 w 390"/>
              <a:gd name="T5" fmla="*/ 348 h 391"/>
              <a:gd name="T6" fmla="*/ 270 w 390"/>
              <a:gd name="T7" fmla="*/ 348 h 391"/>
              <a:gd name="T8" fmla="*/ 347 w 390"/>
              <a:gd name="T9" fmla="*/ 119 h 391"/>
              <a:gd name="T10" fmla="*/ 347 w 390"/>
              <a:gd name="T11" fmla="*/ 119 h 391"/>
              <a:gd name="T12" fmla="*/ 118 w 390"/>
              <a:gd name="T13" fmla="*/ 42 h 391"/>
              <a:gd name="T14" fmla="*/ 118 w 390"/>
              <a:gd name="T15" fmla="*/ 42 h 391"/>
              <a:gd name="T16" fmla="*/ 42 w 390"/>
              <a:gd name="T17" fmla="*/ 271 h 39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390" h="391">
                <a:moveTo>
                  <a:pt x="42" y="271"/>
                </a:moveTo>
                <a:lnTo>
                  <a:pt x="42" y="271"/>
                </a:lnTo>
                <a:cubicBezTo>
                  <a:pt x="84" y="356"/>
                  <a:pt x="187" y="390"/>
                  <a:pt x="270" y="348"/>
                </a:cubicBezTo>
                <a:lnTo>
                  <a:pt x="270" y="348"/>
                </a:lnTo>
                <a:cubicBezTo>
                  <a:pt x="355" y="306"/>
                  <a:pt x="389" y="203"/>
                  <a:pt x="347" y="119"/>
                </a:cubicBezTo>
                <a:lnTo>
                  <a:pt x="347" y="119"/>
                </a:lnTo>
                <a:cubicBezTo>
                  <a:pt x="305" y="34"/>
                  <a:pt x="202" y="0"/>
                  <a:pt x="118" y="42"/>
                </a:cubicBezTo>
                <a:lnTo>
                  <a:pt x="118" y="42"/>
                </a:lnTo>
                <a:cubicBezTo>
                  <a:pt x="34" y="84"/>
                  <a:pt x="0" y="187"/>
                  <a:pt x="42" y="271"/>
                </a:cubicBezTo>
              </a:path>
            </a:pathLst>
          </a:custGeom>
          <a:solidFill>
            <a:srgbClr val="142F4E"/>
          </a:solidFill>
          <a:ln>
            <a:noFill/>
          </a:ln>
          <a:effectLst/>
        </p:spPr>
        <p:txBody>
          <a:bodyPr wrap="none" anchor="ctr"/>
          <a:lstStyle/>
          <a:p>
            <a:endParaRPr lang="es-ES_tradnl"/>
          </a:p>
        </p:txBody>
      </p:sp>
      <p:sp>
        <p:nvSpPr>
          <p:cNvPr id="27" name="Freeform 54">
            <a:extLst>
              <a:ext uri="{FF2B5EF4-FFF2-40B4-BE49-F238E27FC236}">
                <a16:creationId xmlns:a16="http://schemas.microsoft.com/office/drawing/2014/main" xmlns="" id="{132ED3BB-3943-429D-BA0B-D7702DF41160}"/>
              </a:ext>
            </a:extLst>
          </p:cNvPr>
          <p:cNvSpPr>
            <a:spLocks noChangeArrowheads="1"/>
          </p:cNvSpPr>
          <p:nvPr userDrawn="1"/>
        </p:nvSpPr>
        <p:spPr bwMode="auto">
          <a:xfrm rot="14633726" flipH="1">
            <a:off x="2233065" y="5383275"/>
            <a:ext cx="621163" cy="450856"/>
          </a:xfrm>
          <a:custGeom>
            <a:avLst/>
            <a:gdLst>
              <a:gd name="T0" fmla="*/ 43 w 849"/>
              <a:gd name="T1" fmla="*/ 501 h 620"/>
              <a:gd name="T2" fmla="*/ 43 w 849"/>
              <a:gd name="T3" fmla="*/ 501 h 620"/>
              <a:gd name="T4" fmla="*/ 271 w 849"/>
              <a:gd name="T5" fmla="*/ 577 h 620"/>
              <a:gd name="T6" fmla="*/ 730 w 849"/>
              <a:gd name="T7" fmla="*/ 348 h 620"/>
              <a:gd name="T8" fmla="*/ 730 w 849"/>
              <a:gd name="T9" fmla="*/ 348 h 620"/>
              <a:gd name="T10" fmla="*/ 806 w 849"/>
              <a:gd name="T11" fmla="*/ 119 h 620"/>
              <a:gd name="T12" fmla="*/ 806 w 849"/>
              <a:gd name="T13" fmla="*/ 119 h 620"/>
              <a:gd name="T14" fmla="*/ 577 w 849"/>
              <a:gd name="T15" fmla="*/ 43 h 620"/>
              <a:gd name="T16" fmla="*/ 119 w 849"/>
              <a:gd name="T17" fmla="*/ 272 h 620"/>
              <a:gd name="T18" fmla="*/ 119 w 849"/>
              <a:gd name="T19" fmla="*/ 272 h 620"/>
              <a:gd name="T20" fmla="*/ 43 w 849"/>
              <a:gd name="T21" fmla="*/ 501 h 6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849" h="620">
                <a:moveTo>
                  <a:pt x="43" y="501"/>
                </a:moveTo>
                <a:lnTo>
                  <a:pt x="43" y="501"/>
                </a:lnTo>
                <a:cubicBezTo>
                  <a:pt x="85" y="586"/>
                  <a:pt x="187" y="619"/>
                  <a:pt x="271" y="577"/>
                </a:cubicBezTo>
                <a:lnTo>
                  <a:pt x="730" y="348"/>
                </a:lnTo>
                <a:lnTo>
                  <a:pt x="730" y="348"/>
                </a:lnTo>
                <a:cubicBezTo>
                  <a:pt x="814" y="306"/>
                  <a:pt x="848" y="204"/>
                  <a:pt x="806" y="119"/>
                </a:cubicBezTo>
                <a:lnTo>
                  <a:pt x="806" y="119"/>
                </a:lnTo>
                <a:cubicBezTo>
                  <a:pt x="764" y="35"/>
                  <a:pt x="661" y="0"/>
                  <a:pt x="577" y="43"/>
                </a:cubicBezTo>
                <a:lnTo>
                  <a:pt x="119" y="272"/>
                </a:lnTo>
                <a:lnTo>
                  <a:pt x="119" y="272"/>
                </a:lnTo>
                <a:cubicBezTo>
                  <a:pt x="34" y="314"/>
                  <a:pt x="0" y="416"/>
                  <a:pt x="43" y="501"/>
                </a:cubicBezTo>
              </a:path>
            </a:pathLst>
          </a:custGeom>
          <a:solidFill>
            <a:srgbClr val="9E9E9E"/>
          </a:solidFill>
          <a:ln>
            <a:noFill/>
          </a:ln>
          <a:effectLst/>
        </p:spPr>
        <p:txBody>
          <a:bodyPr wrap="none" anchor="ctr"/>
          <a:lstStyle/>
          <a:p>
            <a:endParaRPr lang="es-ES_tradnl"/>
          </a:p>
        </p:txBody>
      </p:sp>
      <p:sp>
        <p:nvSpPr>
          <p:cNvPr id="28" name="Freeform 55">
            <a:extLst>
              <a:ext uri="{FF2B5EF4-FFF2-40B4-BE49-F238E27FC236}">
                <a16:creationId xmlns:a16="http://schemas.microsoft.com/office/drawing/2014/main" xmlns="" id="{7AC1804E-106A-4B35-A042-A4821E29F928}"/>
              </a:ext>
            </a:extLst>
          </p:cNvPr>
          <p:cNvSpPr>
            <a:spLocks noChangeArrowheads="1"/>
          </p:cNvSpPr>
          <p:nvPr userDrawn="1"/>
        </p:nvSpPr>
        <p:spPr bwMode="auto">
          <a:xfrm rot="20015839" flipH="1">
            <a:off x="2402066" y="4895857"/>
            <a:ext cx="283226" cy="284583"/>
          </a:xfrm>
          <a:custGeom>
            <a:avLst/>
            <a:gdLst>
              <a:gd name="T0" fmla="*/ 42 w 390"/>
              <a:gd name="T1" fmla="*/ 271 h 391"/>
              <a:gd name="T2" fmla="*/ 42 w 390"/>
              <a:gd name="T3" fmla="*/ 271 h 391"/>
              <a:gd name="T4" fmla="*/ 270 w 390"/>
              <a:gd name="T5" fmla="*/ 348 h 391"/>
              <a:gd name="T6" fmla="*/ 270 w 390"/>
              <a:gd name="T7" fmla="*/ 348 h 391"/>
              <a:gd name="T8" fmla="*/ 347 w 390"/>
              <a:gd name="T9" fmla="*/ 119 h 391"/>
              <a:gd name="T10" fmla="*/ 347 w 390"/>
              <a:gd name="T11" fmla="*/ 119 h 391"/>
              <a:gd name="T12" fmla="*/ 118 w 390"/>
              <a:gd name="T13" fmla="*/ 42 h 391"/>
              <a:gd name="T14" fmla="*/ 118 w 390"/>
              <a:gd name="T15" fmla="*/ 42 h 391"/>
              <a:gd name="T16" fmla="*/ 42 w 390"/>
              <a:gd name="T17" fmla="*/ 271 h 39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390" h="391">
                <a:moveTo>
                  <a:pt x="42" y="271"/>
                </a:moveTo>
                <a:lnTo>
                  <a:pt x="42" y="271"/>
                </a:lnTo>
                <a:cubicBezTo>
                  <a:pt x="84" y="356"/>
                  <a:pt x="187" y="390"/>
                  <a:pt x="270" y="348"/>
                </a:cubicBezTo>
                <a:lnTo>
                  <a:pt x="270" y="348"/>
                </a:lnTo>
                <a:cubicBezTo>
                  <a:pt x="355" y="306"/>
                  <a:pt x="389" y="203"/>
                  <a:pt x="347" y="119"/>
                </a:cubicBezTo>
                <a:lnTo>
                  <a:pt x="347" y="119"/>
                </a:lnTo>
                <a:cubicBezTo>
                  <a:pt x="305" y="34"/>
                  <a:pt x="202" y="0"/>
                  <a:pt x="118" y="42"/>
                </a:cubicBezTo>
                <a:lnTo>
                  <a:pt x="118" y="42"/>
                </a:lnTo>
                <a:cubicBezTo>
                  <a:pt x="34" y="84"/>
                  <a:pt x="0" y="187"/>
                  <a:pt x="42" y="271"/>
                </a:cubicBezTo>
              </a:path>
            </a:pathLst>
          </a:custGeom>
          <a:solidFill>
            <a:srgbClr val="9E9E9E"/>
          </a:solidFill>
          <a:ln>
            <a:noFill/>
          </a:ln>
          <a:effectLst/>
        </p:spPr>
        <p:txBody>
          <a:bodyPr wrap="none" anchor="ctr"/>
          <a:lstStyle/>
          <a:p>
            <a:endParaRPr lang="es-ES_tradnl"/>
          </a:p>
        </p:txBody>
      </p:sp>
      <p:sp>
        <p:nvSpPr>
          <p:cNvPr id="30" name="Freeform 45">
            <a:extLst>
              <a:ext uri="{FF2B5EF4-FFF2-40B4-BE49-F238E27FC236}">
                <a16:creationId xmlns:a16="http://schemas.microsoft.com/office/drawing/2014/main" xmlns="" id="{3FC994C5-6593-4EF5-9075-1DC45B117531}"/>
              </a:ext>
            </a:extLst>
          </p:cNvPr>
          <p:cNvSpPr>
            <a:spLocks noChangeArrowheads="1"/>
          </p:cNvSpPr>
          <p:nvPr userDrawn="1"/>
        </p:nvSpPr>
        <p:spPr bwMode="auto">
          <a:xfrm rot="9227981" flipH="1">
            <a:off x="2884543" y="4566566"/>
            <a:ext cx="1618891" cy="946474"/>
          </a:xfrm>
          <a:custGeom>
            <a:avLst/>
            <a:gdLst>
              <a:gd name="T0" fmla="*/ 2174 w 2217"/>
              <a:gd name="T1" fmla="*/ 119 h 1304"/>
              <a:gd name="T2" fmla="*/ 2174 w 2217"/>
              <a:gd name="T3" fmla="*/ 119 h 1304"/>
              <a:gd name="T4" fmla="*/ 1944 w 2217"/>
              <a:gd name="T5" fmla="*/ 42 h 1304"/>
              <a:gd name="T6" fmla="*/ 119 w 2217"/>
              <a:gd name="T7" fmla="*/ 956 h 1304"/>
              <a:gd name="T8" fmla="*/ 119 w 2217"/>
              <a:gd name="T9" fmla="*/ 956 h 1304"/>
              <a:gd name="T10" fmla="*/ 42 w 2217"/>
              <a:gd name="T11" fmla="*/ 1185 h 1304"/>
              <a:gd name="T12" fmla="*/ 42 w 2217"/>
              <a:gd name="T13" fmla="*/ 1185 h 1304"/>
              <a:gd name="T14" fmla="*/ 271 w 2217"/>
              <a:gd name="T15" fmla="*/ 1262 h 1304"/>
              <a:gd name="T16" fmla="*/ 2098 w 2217"/>
              <a:gd name="T17" fmla="*/ 348 h 1304"/>
              <a:gd name="T18" fmla="*/ 2098 w 2217"/>
              <a:gd name="T19" fmla="*/ 348 h 1304"/>
              <a:gd name="T20" fmla="*/ 2174 w 2217"/>
              <a:gd name="T21" fmla="*/ 119 h 130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2217" h="1304">
                <a:moveTo>
                  <a:pt x="2174" y="119"/>
                </a:moveTo>
                <a:lnTo>
                  <a:pt x="2174" y="119"/>
                </a:lnTo>
                <a:cubicBezTo>
                  <a:pt x="2132" y="34"/>
                  <a:pt x="2029" y="0"/>
                  <a:pt x="1944" y="42"/>
                </a:cubicBezTo>
                <a:lnTo>
                  <a:pt x="119" y="956"/>
                </a:lnTo>
                <a:lnTo>
                  <a:pt x="119" y="956"/>
                </a:lnTo>
                <a:cubicBezTo>
                  <a:pt x="34" y="998"/>
                  <a:pt x="0" y="1101"/>
                  <a:pt x="42" y="1185"/>
                </a:cubicBezTo>
                <a:lnTo>
                  <a:pt x="42" y="1185"/>
                </a:lnTo>
                <a:cubicBezTo>
                  <a:pt x="84" y="1269"/>
                  <a:pt x="187" y="1303"/>
                  <a:pt x="271" y="1262"/>
                </a:cubicBezTo>
                <a:lnTo>
                  <a:pt x="2098" y="348"/>
                </a:lnTo>
                <a:lnTo>
                  <a:pt x="2098" y="348"/>
                </a:lnTo>
                <a:cubicBezTo>
                  <a:pt x="2182" y="306"/>
                  <a:pt x="2216" y="203"/>
                  <a:pt x="2174" y="119"/>
                </a:cubicBezTo>
              </a:path>
            </a:pathLst>
          </a:custGeom>
          <a:solidFill>
            <a:srgbClr val="9E9E9E"/>
          </a:solidFill>
          <a:ln>
            <a:noFill/>
          </a:ln>
          <a:effectLst/>
        </p:spPr>
        <p:txBody>
          <a:bodyPr wrap="none" anchor="ctr"/>
          <a:lstStyle/>
          <a:p>
            <a:r>
              <a:rPr lang="es-ES_tradnl" dirty="0"/>
              <a:t>                                        </a:t>
            </a:r>
          </a:p>
        </p:txBody>
      </p:sp>
      <p:sp>
        <p:nvSpPr>
          <p:cNvPr id="31" name="Freeform 55">
            <a:extLst>
              <a:ext uri="{FF2B5EF4-FFF2-40B4-BE49-F238E27FC236}">
                <a16:creationId xmlns:a16="http://schemas.microsoft.com/office/drawing/2014/main" xmlns="" id="{030370B5-B780-4886-AC5C-71102ECC317F}"/>
              </a:ext>
            </a:extLst>
          </p:cNvPr>
          <p:cNvSpPr>
            <a:spLocks noChangeArrowheads="1"/>
          </p:cNvSpPr>
          <p:nvPr userDrawn="1"/>
        </p:nvSpPr>
        <p:spPr bwMode="auto">
          <a:xfrm rot="20015839" flipH="1">
            <a:off x="4695416" y="4899191"/>
            <a:ext cx="283226" cy="284583"/>
          </a:xfrm>
          <a:custGeom>
            <a:avLst/>
            <a:gdLst>
              <a:gd name="T0" fmla="*/ 42 w 390"/>
              <a:gd name="T1" fmla="*/ 271 h 391"/>
              <a:gd name="T2" fmla="*/ 42 w 390"/>
              <a:gd name="T3" fmla="*/ 271 h 391"/>
              <a:gd name="T4" fmla="*/ 270 w 390"/>
              <a:gd name="T5" fmla="*/ 348 h 391"/>
              <a:gd name="T6" fmla="*/ 270 w 390"/>
              <a:gd name="T7" fmla="*/ 348 h 391"/>
              <a:gd name="T8" fmla="*/ 347 w 390"/>
              <a:gd name="T9" fmla="*/ 119 h 391"/>
              <a:gd name="T10" fmla="*/ 347 w 390"/>
              <a:gd name="T11" fmla="*/ 119 h 391"/>
              <a:gd name="T12" fmla="*/ 118 w 390"/>
              <a:gd name="T13" fmla="*/ 42 h 391"/>
              <a:gd name="T14" fmla="*/ 118 w 390"/>
              <a:gd name="T15" fmla="*/ 42 h 391"/>
              <a:gd name="T16" fmla="*/ 42 w 390"/>
              <a:gd name="T17" fmla="*/ 271 h 39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390" h="391">
                <a:moveTo>
                  <a:pt x="42" y="271"/>
                </a:moveTo>
                <a:lnTo>
                  <a:pt x="42" y="271"/>
                </a:lnTo>
                <a:cubicBezTo>
                  <a:pt x="84" y="356"/>
                  <a:pt x="187" y="390"/>
                  <a:pt x="270" y="348"/>
                </a:cubicBezTo>
                <a:lnTo>
                  <a:pt x="270" y="348"/>
                </a:lnTo>
                <a:cubicBezTo>
                  <a:pt x="355" y="306"/>
                  <a:pt x="389" y="203"/>
                  <a:pt x="347" y="119"/>
                </a:cubicBezTo>
                <a:lnTo>
                  <a:pt x="347" y="119"/>
                </a:lnTo>
                <a:cubicBezTo>
                  <a:pt x="305" y="34"/>
                  <a:pt x="202" y="0"/>
                  <a:pt x="118" y="42"/>
                </a:cubicBezTo>
                <a:lnTo>
                  <a:pt x="118" y="42"/>
                </a:lnTo>
                <a:cubicBezTo>
                  <a:pt x="34" y="84"/>
                  <a:pt x="0" y="187"/>
                  <a:pt x="42" y="271"/>
                </a:cubicBezTo>
              </a:path>
            </a:pathLst>
          </a:custGeom>
          <a:solidFill>
            <a:srgbClr val="9E9E9E"/>
          </a:solidFill>
          <a:ln>
            <a:noFill/>
          </a:ln>
          <a:effectLst/>
        </p:spPr>
        <p:txBody>
          <a:bodyPr wrap="none" anchor="ctr"/>
          <a:lstStyle/>
          <a:p>
            <a:endParaRPr lang="es-ES_tradnl"/>
          </a:p>
        </p:txBody>
      </p:sp>
      <p:sp>
        <p:nvSpPr>
          <p:cNvPr id="32" name="Freeform 54">
            <a:extLst>
              <a:ext uri="{FF2B5EF4-FFF2-40B4-BE49-F238E27FC236}">
                <a16:creationId xmlns:a16="http://schemas.microsoft.com/office/drawing/2014/main" xmlns="" id="{09B7032C-FFB7-4F80-95C4-38F4096C5C65}"/>
              </a:ext>
            </a:extLst>
          </p:cNvPr>
          <p:cNvSpPr>
            <a:spLocks noChangeArrowheads="1"/>
          </p:cNvSpPr>
          <p:nvPr userDrawn="1"/>
        </p:nvSpPr>
        <p:spPr bwMode="auto">
          <a:xfrm rot="14633726" flipH="1">
            <a:off x="4525970" y="4258137"/>
            <a:ext cx="621163" cy="450856"/>
          </a:xfrm>
          <a:custGeom>
            <a:avLst/>
            <a:gdLst>
              <a:gd name="T0" fmla="*/ 43 w 849"/>
              <a:gd name="T1" fmla="*/ 501 h 620"/>
              <a:gd name="T2" fmla="*/ 43 w 849"/>
              <a:gd name="T3" fmla="*/ 501 h 620"/>
              <a:gd name="T4" fmla="*/ 271 w 849"/>
              <a:gd name="T5" fmla="*/ 577 h 620"/>
              <a:gd name="T6" fmla="*/ 730 w 849"/>
              <a:gd name="T7" fmla="*/ 348 h 620"/>
              <a:gd name="T8" fmla="*/ 730 w 849"/>
              <a:gd name="T9" fmla="*/ 348 h 620"/>
              <a:gd name="T10" fmla="*/ 806 w 849"/>
              <a:gd name="T11" fmla="*/ 119 h 620"/>
              <a:gd name="T12" fmla="*/ 806 w 849"/>
              <a:gd name="T13" fmla="*/ 119 h 620"/>
              <a:gd name="T14" fmla="*/ 577 w 849"/>
              <a:gd name="T15" fmla="*/ 43 h 620"/>
              <a:gd name="T16" fmla="*/ 119 w 849"/>
              <a:gd name="T17" fmla="*/ 272 h 620"/>
              <a:gd name="T18" fmla="*/ 119 w 849"/>
              <a:gd name="T19" fmla="*/ 272 h 620"/>
              <a:gd name="T20" fmla="*/ 43 w 849"/>
              <a:gd name="T21" fmla="*/ 501 h 6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849" h="620">
                <a:moveTo>
                  <a:pt x="43" y="501"/>
                </a:moveTo>
                <a:lnTo>
                  <a:pt x="43" y="501"/>
                </a:lnTo>
                <a:cubicBezTo>
                  <a:pt x="85" y="586"/>
                  <a:pt x="187" y="619"/>
                  <a:pt x="271" y="577"/>
                </a:cubicBezTo>
                <a:lnTo>
                  <a:pt x="730" y="348"/>
                </a:lnTo>
                <a:lnTo>
                  <a:pt x="730" y="348"/>
                </a:lnTo>
                <a:cubicBezTo>
                  <a:pt x="814" y="306"/>
                  <a:pt x="848" y="204"/>
                  <a:pt x="806" y="119"/>
                </a:cubicBezTo>
                <a:lnTo>
                  <a:pt x="806" y="119"/>
                </a:lnTo>
                <a:cubicBezTo>
                  <a:pt x="764" y="35"/>
                  <a:pt x="661" y="0"/>
                  <a:pt x="577" y="43"/>
                </a:cubicBezTo>
                <a:lnTo>
                  <a:pt x="119" y="272"/>
                </a:lnTo>
                <a:lnTo>
                  <a:pt x="119" y="272"/>
                </a:lnTo>
                <a:cubicBezTo>
                  <a:pt x="34" y="314"/>
                  <a:pt x="0" y="416"/>
                  <a:pt x="43" y="501"/>
                </a:cubicBezTo>
              </a:path>
            </a:pathLst>
          </a:custGeom>
          <a:solidFill>
            <a:srgbClr val="CCECF9"/>
          </a:solidFill>
          <a:ln>
            <a:noFill/>
          </a:ln>
          <a:effectLst/>
        </p:spPr>
        <p:txBody>
          <a:bodyPr wrap="none" anchor="ctr"/>
          <a:lstStyle/>
          <a:p>
            <a:endParaRPr lang="es-ES_tradnl"/>
          </a:p>
        </p:txBody>
      </p:sp>
      <p:sp>
        <p:nvSpPr>
          <p:cNvPr id="34" name="Freeform 55">
            <a:extLst>
              <a:ext uri="{FF2B5EF4-FFF2-40B4-BE49-F238E27FC236}">
                <a16:creationId xmlns:a16="http://schemas.microsoft.com/office/drawing/2014/main" xmlns="" id="{BABA7E8F-D03C-4C65-8747-2A42F6BD6B9F}"/>
              </a:ext>
            </a:extLst>
          </p:cNvPr>
          <p:cNvSpPr>
            <a:spLocks noChangeArrowheads="1"/>
          </p:cNvSpPr>
          <p:nvPr userDrawn="1"/>
        </p:nvSpPr>
        <p:spPr bwMode="auto">
          <a:xfrm rot="20015839" flipH="1">
            <a:off x="4694971" y="3770719"/>
            <a:ext cx="283226" cy="284583"/>
          </a:xfrm>
          <a:custGeom>
            <a:avLst/>
            <a:gdLst>
              <a:gd name="T0" fmla="*/ 42 w 390"/>
              <a:gd name="T1" fmla="*/ 271 h 391"/>
              <a:gd name="T2" fmla="*/ 42 w 390"/>
              <a:gd name="T3" fmla="*/ 271 h 391"/>
              <a:gd name="T4" fmla="*/ 270 w 390"/>
              <a:gd name="T5" fmla="*/ 348 h 391"/>
              <a:gd name="T6" fmla="*/ 270 w 390"/>
              <a:gd name="T7" fmla="*/ 348 h 391"/>
              <a:gd name="T8" fmla="*/ 347 w 390"/>
              <a:gd name="T9" fmla="*/ 119 h 391"/>
              <a:gd name="T10" fmla="*/ 347 w 390"/>
              <a:gd name="T11" fmla="*/ 119 h 391"/>
              <a:gd name="T12" fmla="*/ 118 w 390"/>
              <a:gd name="T13" fmla="*/ 42 h 391"/>
              <a:gd name="T14" fmla="*/ 118 w 390"/>
              <a:gd name="T15" fmla="*/ 42 h 391"/>
              <a:gd name="T16" fmla="*/ 42 w 390"/>
              <a:gd name="T17" fmla="*/ 271 h 39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390" h="391">
                <a:moveTo>
                  <a:pt x="42" y="271"/>
                </a:moveTo>
                <a:lnTo>
                  <a:pt x="42" y="271"/>
                </a:lnTo>
                <a:cubicBezTo>
                  <a:pt x="84" y="356"/>
                  <a:pt x="187" y="390"/>
                  <a:pt x="270" y="348"/>
                </a:cubicBezTo>
                <a:lnTo>
                  <a:pt x="270" y="348"/>
                </a:lnTo>
                <a:cubicBezTo>
                  <a:pt x="355" y="306"/>
                  <a:pt x="389" y="203"/>
                  <a:pt x="347" y="119"/>
                </a:cubicBezTo>
                <a:lnTo>
                  <a:pt x="347" y="119"/>
                </a:lnTo>
                <a:cubicBezTo>
                  <a:pt x="305" y="34"/>
                  <a:pt x="202" y="0"/>
                  <a:pt x="118" y="42"/>
                </a:cubicBezTo>
                <a:lnTo>
                  <a:pt x="118" y="42"/>
                </a:lnTo>
                <a:cubicBezTo>
                  <a:pt x="34" y="84"/>
                  <a:pt x="0" y="187"/>
                  <a:pt x="42" y="271"/>
                </a:cubicBezTo>
              </a:path>
            </a:pathLst>
          </a:custGeom>
          <a:solidFill>
            <a:srgbClr val="CCECF9"/>
          </a:solidFill>
          <a:ln>
            <a:noFill/>
          </a:ln>
          <a:effectLst/>
        </p:spPr>
        <p:txBody>
          <a:bodyPr wrap="none" anchor="ctr"/>
          <a:lstStyle/>
          <a:p>
            <a:endParaRPr lang="es-ES_tradnl"/>
          </a:p>
        </p:txBody>
      </p:sp>
      <p:sp>
        <p:nvSpPr>
          <p:cNvPr id="36" name="Freeform 45">
            <a:extLst>
              <a:ext uri="{FF2B5EF4-FFF2-40B4-BE49-F238E27FC236}">
                <a16:creationId xmlns:a16="http://schemas.microsoft.com/office/drawing/2014/main" xmlns="" id="{1EF5B9CF-061B-4C0B-8A33-EE0C364AE7BD}"/>
              </a:ext>
            </a:extLst>
          </p:cNvPr>
          <p:cNvSpPr>
            <a:spLocks noChangeArrowheads="1"/>
          </p:cNvSpPr>
          <p:nvPr userDrawn="1"/>
        </p:nvSpPr>
        <p:spPr bwMode="auto">
          <a:xfrm rot="9227981" flipH="1">
            <a:off x="5160306" y="3443942"/>
            <a:ext cx="1618891" cy="946474"/>
          </a:xfrm>
          <a:custGeom>
            <a:avLst/>
            <a:gdLst>
              <a:gd name="T0" fmla="*/ 2174 w 2217"/>
              <a:gd name="T1" fmla="*/ 119 h 1304"/>
              <a:gd name="T2" fmla="*/ 2174 w 2217"/>
              <a:gd name="T3" fmla="*/ 119 h 1304"/>
              <a:gd name="T4" fmla="*/ 1944 w 2217"/>
              <a:gd name="T5" fmla="*/ 42 h 1304"/>
              <a:gd name="T6" fmla="*/ 119 w 2217"/>
              <a:gd name="T7" fmla="*/ 956 h 1304"/>
              <a:gd name="T8" fmla="*/ 119 w 2217"/>
              <a:gd name="T9" fmla="*/ 956 h 1304"/>
              <a:gd name="T10" fmla="*/ 42 w 2217"/>
              <a:gd name="T11" fmla="*/ 1185 h 1304"/>
              <a:gd name="T12" fmla="*/ 42 w 2217"/>
              <a:gd name="T13" fmla="*/ 1185 h 1304"/>
              <a:gd name="T14" fmla="*/ 271 w 2217"/>
              <a:gd name="T15" fmla="*/ 1262 h 1304"/>
              <a:gd name="T16" fmla="*/ 2098 w 2217"/>
              <a:gd name="T17" fmla="*/ 348 h 1304"/>
              <a:gd name="T18" fmla="*/ 2098 w 2217"/>
              <a:gd name="T19" fmla="*/ 348 h 1304"/>
              <a:gd name="T20" fmla="*/ 2174 w 2217"/>
              <a:gd name="T21" fmla="*/ 119 h 130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2217" h="1304">
                <a:moveTo>
                  <a:pt x="2174" y="119"/>
                </a:moveTo>
                <a:lnTo>
                  <a:pt x="2174" y="119"/>
                </a:lnTo>
                <a:cubicBezTo>
                  <a:pt x="2132" y="34"/>
                  <a:pt x="2029" y="0"/>
                  <a:pt x="1944" y="42"/>
                </a:cubicBezTo>
                <a:lnTo>
                  <a:pt x="119" y="956"/>
                </a:lnTo>
                <a:lnTo>
                  <a:pt x="119" y="956"/>
                </a:lnTo>
                <a:cubicBezTo>
                  <a:pt x="34" y="998"/>
                  <a:pt x="0" y="1101"/>
                  <a:pt x="42" y="1185"/>
                </a:cubicBezTo>
                <a:lnTo>
                  <a:pt x="42" y="1185"/>
                </a:lnTo>
                <a:cubicBezTo>
                  <a:pt x="84" y="1269"/>
                  <a:pt x="187" y="1303"/>
                  <a:pt x="271" y="1262"/>
                </a:cubicBezTo>
                <a:lnTo>
                  <a:pt x="2098" y="348"/>
                </a:lnTo>
                <a:lnTo>
                  <a:pt x="2098" y="348"/>
                </a:lnTo>
                <a:cubicBezTo>
                  <a:pt x="2182" y="306"/>
                  <a:pt x="2216" y="203"/>
                  <a:pt x="2174" y="119"/>
                </a:cubicBezTo>
              </a:path>
            </a:pathLst>
          </a:custGeom>
          <a:solidFill>
            <a:srgbClr val="CCECF9"/>
          </a:solidFill>
          <a:ln>
            <a:noFill/>
          </a:ln>
          <a:effectLst/>
        </p:spPr>
        <p:txBody>
          <a:bodyPr wrap="none" anchor="ctr"/>
          <a:lstStyle/>
          <a:p>
            <a:r>
              <a:rPr lang="es-ES_tradnl" dirty="0"/>
              <a:t>                                        </a:t>
            </a:r>
          </a:p>
        </p:txBody>
      </p:sp>
      <p:sp>
        <p:nvSpPr>
          <p:cNvPr id="37" name="Freeform 55">
            <a:extLst>
              <a:ext uri="{FF2B5EF4-FFF2-40B4-BE49-F238E27FC236}">
                <a16:creationId xmlns:a16="http://schemas.microsoft.com/office/drawing/2014/main" xmlns="" id="{DA26F0C1-B9F1-465E-B0FB-1FD68E2D2BC8}"/>
              </a:ext>
            </a:extLst>
          </p:cNvPr>
          <p:cNvSpPr>
            <a:spLocks noChangeArrowheads="1"/>
          </p:cNvSpPr>
          <p:nvPr userDrawn="1"/>
        </p:nvSpPr>
        <p:spPr bwMode="auto">
          <a:xfrm rot="20015839" flipH="1">
            <a:off x="6971179" y="3776567"/>
            <a:ext cx="283226" cy="284583"/>
          </a:xfrm>
          <a:custGeom>
            <a:avLst/>
            <a:gdLst>
              <a:gd name="T0" fmla="*/ 42 w 390"/>
              <a:gd name="T1" fmla="*/ 271 h 391"/>
              <a:gd name="T2" fmla="*/ 42 w 390"/>
              <a:gd name="T3" fmla="*/ 271 h 391"/>
              <a:gd name="T4" fmla="*/ 270 w 390"/>
              <a:gd name="T5" fmla="*/ 348 h 391"/>
              <a:gd name="T6" fmla="*/ 270 w 390"/>
              <a:gd name="T7" fmla="*/ 348 h 391"/>
              <a:gd name="T8" fmla="*/ 347 w 390"/>
              <a:gd name="T9" fmla="*/ 119 h 391"/>
              <a:gd name="T10" fmla="*/ 347 w 390"/>
              <a:gd name="T11" fmla="*/ 119 h 391"/>
              <a:gd name="T12" fmla="*/ 118 w 390"/>
              <a:gd name="T13" fmla="*/ 42 h 391"/>
              <a:gd name="T14" fmla="*/ 118 w 390"/>
              <a:gd name="T15" fmla="*/ 42 h 391"/>
              <a:gd name="T16" fmla="*/ 42 w 390"/>
              <a:gd name="T17" fmla="*/ 271 h 39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390" h="391">
                <a:moveTo>
                  <a:pt x="42" y="271"/>
                </a:moveTo>
                <a:lnTo>
                  <a:pt x="42" y="271"/>
                </a:lnTo>
                <a:cubicBezTo>
                  <a:pt x="84" y="356"/>
                  <a:pt x="187" y="390"/>
                  <a:pt x="270" y="348"/>
                </a:cubicBezTo>
                <a:lnTo>
                  <a:pt x="270" y="348"/>
                </a:lnTo>
                <a:cubicBezTo>
                  <a:pt x="355" y="306"/>
                  <a:pt x="389" y="203"/>
                  <a:pt x="347" y="119"/>
                </a:cubicBezTo>
                <a:lnTo>
                  <a:pt x="347" y="119"/>
                </a:lnTo>
                <a:cubicBezTo>
                  <a:pt x="305" y="34"/>
                  <a:pt x="202" y="0"/>
                  <a:pt x="118" y="42"/>
                </a:cubicBezTo>
                <a:lnTo>
                  <a:pt x="118" y="42"/>
                </a:lnTo>
                <a:cubicBezTo>
                  <a:pt x="34" y="84"/>
                  <a:pt x="0" y="187"/>
                  <a:pt x="42" y="271"/>
                </a:cubicBezTo>
              </a:path>
            </a:pathLst>
          </a:custGeom>
          <a:solidFill>
            <a:srgbClr val="CCECF9"/>
          </a:solidFill>
          <a:ln>
            <a:noFill/>
          </a:ln>
          <a:effectLst/>
        </p:spPr>
        <p:txBody>
          <a:bodyPr wrap="none" anchor="ctr"/>
          <a:lstStyle/>
          <a:p>
            <a:endParaRPr lang="es-ES_tradnl"/>
          </a:p>
        </p:txBody>
      </p:sp>
      <p:sp>
        <p:nvSpPr>
          <p:cNvPr id="38" name="Freeform 54">
            <a:extLst>
              <a:ext uri="{FF2B5EF4-FFF2-40B4-BE49-F238E27FC236}">
                <a16:creationId xmlns:a16="http://schemas.microsoft.com/office/drawing/2014/main" xmlns="" id="{13EF3301-8ADD-43DA-9C83-3C7FED8DA559}"/>
              </a:ext>
            </a:extLst>
          </p:cNvPr>
          <p:cNvSpPr>
            <a:spLocks noChangeArrowheads="1"/>
          </p:cNvSpPr>
          <p:nvPr userDrawn="1"/>
        </p:nvSpPr>
        <p:spPr bwMode="auto">
          <a:xfrm rot="14633726" flipH="1">
            <a:off x="6801733" y="3135513"/>
            <a:ext cx="621163" cy="450856"/>
          </a:xfrm>
          <a:custGeom>
            <a:avLst/>
            <a:gdLst>
              <a:gd name="T0" fmla="*/ 43 w 849"/>
              <a:gd name="T1" fmla="*/ 501 h 620"/>
              <a:gd name="T2" fmla="*/ 43 w 849"/>
              <a:gd name="T3" fmla="*/ 501 h 620"/>
              <a:gd name="T4" fmla="*/ 271 w 849"/>
              <a:gd name="T5" fmla="*/ 577 h 620"/>
              <a:gd name="T6" fmla="*/ 730 w 849"/>
              <a:gd name="T7" fmla="*/ 348 h 620"/>
              <a:gd name="T8" fmla="*/ 730 w 849"/>
              <a:gd name="T9" fmla="*/ 348 h 620"/>
              <a:gd name="T10" fmla="*/ 806 w 849"/>
              <a:gd name="T11" fmla="*/ 119 h 620"/>
              <a:gd name="T12" fmla="*/ 806 w 849"/>
              <a:gd name="T13" fmla="*/ 119 h 620"/>
              <a:gd name="T14" fmla="*/ 577 w 849"/>
              <a:gd name="T15" fmla="*/ 43 h 620"/>
              <a:gd name="T16" fmla="*/ 119 w 849"/>
              <a:gd name="T17" fmla="*/ 272 h 620"/>
              <a:gd name="T18" fmla="*/ 119 w 849"/>
              <a:gd name="T19" fmla="*/ 272 h 620"/>
              <a:gd name="T20" fmla="*/ 43 w 849"/>
              <a:gd name="T21" fmla="*/ 501 h 6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849" h="620">
                <a:moveTo>
                  <a:pt x="43" y="501"/>
                </a:moveTo>
                <a:lnTo>
                  <a:pt x="43" y="501"/>
                </a:lnTo>
                <a:cubicBezTo>
                  <a:pt x="85" y="586"/>
                  <a:pt x="187" y="619"/>
                  <a:pt x="271" y="577"/>
                </a:cubicBezTo>
                <a:lnTo>
                  <a:pt x="730" y="348"/>
                </a:lnTo>
                <a:lnTo>
                  <a:pt x="730" y="348"/>
                </a:lnTo>
                <a:cubicBezTo>
                  <a:pt x="814" y="306"/>
                  <a:pt x="848" y="204"/>
                  <a:pt x="806" y="119"/>
                </a:cubicBezTo>
                <a:lnTo>
                  <a:pt x="806" y="119"/>
                </a:lnTo>
                <a:cubicBezTo>
                  <a:pt x="764" y="35"/>
                  <a:pt x="661" y="0"/>
                  <a:pt x="577" y="43"/>
                </a:cubicBezTo>
                <a:lnTo>
                  <a:pt x="119" y="272"/>
                </a:lnTo>
                <a:lnTo>
                  <a:pt x="119" y="272"/>
                </a:lnTo>
                <a:cubicBezTo>
                  <a:pt x="34" y="314"/>
                  <a:pt x="0" y="416"/>
                  <a:pt x="43" y="501"/>
                </a:cubicBezTo>
              </a:path>
            </a:pathLst>
          </a:custGeom>
          <a:solidFill>
            <a:schemeClr val="accent2"/>
          </a:solidFill>
          <a:ln>
            <a:noFill/>
          </a:ln>
          <a:effectLst/>
        </p:spPr>
        <p:txBody>
          <a:bodyPr wrap="none" anchor="ctr"/>
          <a:lstStyle/>
          <a:p>
            <a:endParaRPr lang="es-ES_tradnl" dirty="0"/>
          </a:p>
        </p:txBody>
      </p:sp>
      <p:sp>
        <p:nvSpPr>
          <p:cNvPr id="39" name="Freeform 55">
            <a:extLst>
              <a:ext uri="{FF2B5EF4-FFF2-40B4-BE49-F238E27FC236}">
                <a16:creationId xmlns:a16="http://schemas.microsoft.com/office/drawing/2014/main" xmlns="" id="{0B21E9A6-7095-4129-B04C-A7C847D63506}"/>
              </a:ext>
            </a:extLst>
          </p:cNvPr>
          <p:cNvSpPr>
            <a:spLocks noChangeArrowheads="1"/>
          </p:cNvSpPr>
          <p:nvPr userDrawn="1"/>
        </p:nvSpPr>
        <p:spPr bwMode="auto">
          <a:xfrm rot="20015839" flipH="1">
            <a:off x="6970734" y="2648095"/>
            <a:ext cx="283226" cy="284583"/>
          </a:xfrm>
          <a:custGeom>
            <a:avLst/>
            <a:gdLst>
              <a:gd name="T0" fmla="*/ 42 w 390"/>
              <a:gd name="T1" fmla="*/ 271 h 391"/>
              <a:gd name="T2" fmla="*/ 42 w 390"/>
              <a:gd name="T3" fmla="*/ 271 h 391"/>
              <a:gd name="T4" fmla="*/ 270 w 390"/>
              <a:gd name="T5" fmla="*/ 348 h 391"/>
              <a:gd name="T6" fmla="*/ 270 w 390"/>
              <a:gd name="T7" fmla="*/ 348 h 391"/>
              <a:gd name="T8" fmla="*/ 347 w 390"/>
              <a:gd name="T9" fmla="*/ 119 h 391"/>
              <a:gd name="T10" fmla="*/ 347 w 390"/>
              <a:gd name="T11" fmla="*/ 119 h 391"/>
              <a:gd name="T12" fmla="*/ 118 w 390"/>
              <a:gd name="T13" fmla="*/ 42 h 391"/>
              <a:gd name="T14" fmla="*/ 118 w 390"/>
              <a:gd name="T15" fmla="*/ 42 h 391"/>
              <a:gd name="T16" fmla="*/ 42 w 390"/>
              <a:gd name="T17" fmla="*/ 271 h 39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390" h="391">
                <a:moveTo>
                  <a:pt x="42" y="271"/>
                </a:moveTo>
                <a:lnTo>
                  <a:pt x="42" y="271"/>
                </a:lnTo>
                <a:cubicBezTo>
                  <a:pt x="84" y="356"/>
                  <a:pt x="187" y="390"/>
                  <a:pt x="270" y="348"/>
                </a:cubicBezTo>
                <a:lnTo>
                  <a:pt x="270" y="348"/>
                </a:lnTo>
                <a:cubicBezTo>
                  <a:pt x="355" y="306"/>
                  <a:pt x="389" y="203"/>
                  <a:pt x="347" y="119"/>
                </a:cubicBezTo>
                <a:lnTo>
                  <a:pt x="347" y="119"/>
                </a:lnTo>
                <a:cubicBezTo>
                  <a:pt x="305" y="34"/>
                  <a:pt x="202" y="0"/>
                  <a:pt x="118" y="42"/>
                </a:cubicBezTo>
                <a:lnTo>
                  <a:pt x="118" y="42"/>
                </a:lnTo>
                <a:cubicBezTo>
                  <a:pt x="34" y="84"/>
                  <a:pt x="0" y="187"/>
                  <a:pt x="42" y="271"/>
                </a:cubicBezTo>
              </a:path>
            </a:pathLst>
          </a:custGeom>
          <a:solidFill>
            <a:schemeClr val="accent2"/>
          </a:solidFill>
          <a:ln>
            <a:noFill/>
          </a:ln>
          <a:effectLst/>
        </p:spPr>
        <p:txBody>
          <a:bodyPr wrap="none" anchor="ctr"/>
          <a:lstStyle/>
          <a:p>
            <a:endParaRPr lang="es-ES_tradnl"/>
          </a:p>
        </p:txBody>
      </p:sp>
      <p:sp>
        <p:nvSpPr>
          <p:cNvPr id="40" name="Freeform 45">
            <a:extLst>
              <a:ext uri="{FF2B5EF4-FFF2-40B4-BE49-F238E27FC236}">
                <a16:creationId xmlns:a16="http://schemas.microsoft.com/office/drawing/2014/main" xmlns="" id="{437DFAAD-6395-498C-BD68-3B1865455E97}"/>
              </a:ext>
            </a:extLst>
          </p:cNvPr>
          <p:cNvSpPr>
            <a:spLocks noChangeArrowheads="1"/>
          </p:cNvSpPr>
          <p:nvPr userDrawn="1"/>
        </p:nvSpPr>
        <p:spPr bwMode="auto">
          <a:xfrm rot="9227981" flipH="1">
            <a:off x="7440516" y="2319827"/>
            <a:ext cx="1618891" cy="946474"/>
          </a:xfrm>
          <a:custGeom>
            <a:avLst/>
            <a:gdLst>
              <a:gd name="T0" fmla="*/ 2174 w 2217"/>
              <a:gd name="T1" fmla="*/ 119 h 1304"/>
              <a:gd name="T2" fmla="*/ 2174 w 2217"/>
              <a:gd name="T3" fmla="*/ 119 h 1304"/>
              <a:gd name="T4" fmla="*/ 1944 w 2217"/>
              <a:gd name="T5" fmla="*/ 42 h 1304"/>
              <a:gd name="T6" fmla="*/ 119 w 2217"/>
              <a:gd name="T7" fmla="*/ 956 h 1304"/>
              <a:gd name="T8" fmla="*/ 119 w 2217"/>
              <a:gd name="T9" fmla="*/ 956 h 1304"/>
              <a:gd name="T10" fmla="*/ 42 w 2217"/>
              <a:gd name="T11" fmla="*/ 1185 h 1304"/>
              <a:gd name="T12" fmla="*/ 42 w 2217"/>
              <a:gd name="T13" fmla="*/ 1185 h 1304"/>
              <a:gd name="T14" fmla="*/ 271 w 2217"/>
              <a:gd name="T15" fmla="*/ 1262 h 1304"/>
              <a:gd name="T16" fmla="*/ 2098 w 2217"/>
              <a:gd name="T17" fmla="*/ 348 h 1304"/>
              <a:gd name="T18" fmla="*/ 2098 w 2217"/>
              <a:gd name="T19" fmla="*/ 348 h 1304"/>
              <a:gd name="T20" fmla="*/ 2174 w 2217"/>
              <a:gd name="T21" fmla="*/ 119 h 130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2217" h="1304">
                <a:moveTo>
                  <a:pt x="2174" y="119"/>
                </a:moveTo>
                <a:lnTo>
                  <a:pt x="2174" y="119"/>
                </a:lnTo>
                <a:cubicBezTo>
                  <a:pt x="2132" y="34"/>
                  <a:pt x="2029" y="0"/>
                  <a:pt x="1944" y="42"/>
                </a:cubicBezTo>
                <a:lnTo>
                  <a:pt x="119" y="956"/>
                </a:lnTo>
                <a:lnTo>
                  <a:pt x="119" y="956"/>
                </a:lnTo>
                <a:cubicBezTo>
                  <a:pt x="34" y="998"/>
                  <a:pt x="0" y="1101"/>
                  <a:pt x="42" y="1185"/>
                </a:cubicBezTo>
                <a:lnTo>
                  <a:pt x="42" y="1185"/>
                </a:lnTo>
                <a:cubicBezTo>
                  <a:pt x="84" y="1269"/>
                  <a:pt x="187" y="1303"/>
                  <a:pt x="271" y="1262"/>
                </a:cubicBezTo>
                <a:lnTo>
                  <a:pt x="2098" y="348"/>
                </a:lnTo>
                <a:lnTo>
                  <a:pt x="2098" y="348"/>
                </a:lnTo>
                <a:cubicBezTo>
                  <a:pt x="2182" y="306"/>
                  <a:pt x="2216" y="203"/>
                  <a:pt x="2174" y="119"/>
                </a:cubicBezTo>
              </a:path>
            </a:pathLst>
          </a:custGeom>
          <a:solidFill>
            <a:srgbClr val="E1D6BC"/>
          </a:solidFill>
          <a:ln>
            <a:noFill/>
          </a:ln>
          <a:effectLst/>
        </p:spPr>
        <p:txBody>
          <a:bodyPr wrap="none" anchor="ctr"/>
          <a:lstStyle/>
          <a:p>
            <a:r>
              <a:rPr lang="es-ES_tradnl" dirty="0"/>
              <a:t>                                        </a:t>
            </a:r>
          </a:p>
        </p:txBody>
      </p:sp>
      <p:sp>
        <p:nvSpPr>
          <p:cNvPr id="41" name="Freeform 55">
            <a:extLst>
              <a:ext uri="{FF2B5EF4-FFF2-40B4-BE49-F238E27FC236}">
                <a16:creationId xmlns:a16="http://schemas.microsoft.com/office/drawing/2014/main" xmlns="" id="{B531E0F2-7780-45CD-9D32-153F98DDA951}"/>
              </a:ext>
            </a:extLst>
          </p:cNvPr>
          <p:cNvSpPr>
            <a:spLocks noChangeArrowheads="1"/>
          </p:cNvSpPr>
          <p:nvPr userDrawn="1"/>
        </p:nvSpPr>
        <p:spPr bwMode="auto">
          <a:xfrm rot="20015839" flipH="1">
            <a:off x="9251389" y="2652452"/>
            <a:ext cx="283226" cy="284583"/>
          </a:xfrm>
          <a:custGeom>
            <a:avLst/>
            <a:gdLst>
              <a:gd name="T0" fmla="*/ 42 w 390"/>
              <a:gd name="T1" fmla="*/ 271 h 391"/>
              <a:gd name="T2" fmla="*/ 42 w 390"/>
              <a:gd name="T3" fmla="*/ 271 h 391"/>
              <a:gd name="T4" fmla="*/ 270 w 390"/>
              <a:gd name="T5" fmla="*/ 348 h 391"/>
              <a:gd name="T6" fmla="*/ 270 w 390"/>
              <a:gd name="T7" fmla="*/ 348 h 391"/>
              <a:gd name="T8" fmla="*/ 347 w 390"/>
              <a:gd name="T9" fmla="*/ 119 h 391"/>
              <a:gd name="T10" fmla="*/ 347 w 390"/>
              <a:gd name="T11" fmla="*/ 119 h 391"/>
              <a:gd name="T12" fmla="*/ 118 w 390"/>
              <a:gd name="T13" fmla="*/ 42 h 391"/>
              <a:gd name="T14" fmla="*/ 118 w 390"/>
              <a:gd name="T15" fmla="*/ 42 h 391"/>
              <a:gd name="T16" fmla="*/ 42 w 390"/>
              <a:gd name="T17" fmla="*/ 271 h 39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390" h="391">
                <a:moveTo>
                  <a:pt x="42" y="271"/>
                </a:moveTo>
                <a:lnTo>
                  <a:pt x="42" y="271"/>
                </a:lnTo>
                <a:cubicBezTo>
                  <a:pt x="84" y="356"/>
                  <a:pt x="187" y="390"/>
                  <a:pt x="270" y="348"/>
                </a:cubicBezTo>
                <a:lnTo>
                  <a:pt x="270" y="348"/>
                </a:lnTo>
                <a:cubicBezTo>
                  <a:pt x="355" y="306"/>
                  <a:pt x="389" y="203"/>
                  <a:pt x="347" y="119"/>
                </a:cubicBezTo>
                <a:lnTo>
                  <a:pt x="347" y="119"/>
                </a:lnTo>
                <a:cubicBezTo>
                  <a:pt x="305" y="34"/>
                  <a:pt x="202" y="0"/>
                  <a:pt x="118" y="42"/>
                </a:cubicBezTo>
                <a:lnTo>
                  <a:pt x="118" y="42"/>
                </a:lnTo>
                <a:cubicBezTo>
                  <a:pt x="34" y="84"/>
                  <a:pt x="0" y="187"/>
                  <a:pt x="42" y="271"/>
                </a:cubicBezTo>
              </a:path>
            </a:pathLst>
          </a:custGeom>
          <a:solidFill>
            <a:srgbClr val="E1D6BC"/>
          </a:solidFill>
          <a:ln>
            <a:noFill/>
          </a:ln>
          <a:effectLst/>
        </p:spPr>
        <p:txBody>
          <a:bodyPr wrap="none" anchor="ctr"/>
          <a:lstStyle/>
          <a:p>
            <a:endParaRPr lang="es-ES_tradnl"/>
          </a:p>
        </p:txBody>
      </p:sp>
      <p:sp>
        <p:nvSpPr>
          <p:cNvPr id="42" name="Freeform 54">
            <a:extLst>
              <a:ext uri="{FF2B5EF4-FFF2-40B4-BE49-F238E27FC236}">
                <a16:creationId xmlns:a16="http://schemas.microsoft.com/office/drawing/2014/main" xmlns="" id="{FABFC33A-1B71-4958-B89E-2BC8811E3383}"/>
              </a:ext>
            </a:extLst>
          </p:cNvPr>
          <p:cNvSpPr>
            <a:spLocks noChangeArrowheads="1"/>
          </p:cNvSpPr>
          <p:nvPr userDrawn="1"/>
        </p:nvSpPr>
        <p:spPr bwMode="auto">
          <a:xfrm rot="14633726" flipH="1">
            <a:off x="9081943" y="2011398"/>
            <a:ext cx="621163" cy="450856"/>
          </a:xfrm>
          <a:custGeom>
            <a:avLst/>
            <a:gdLst>
              <a:gd name="T0" fmla="*/ 43 w 849"/>
              <a:gd name="T1" fmla="*/ 501 h 620"/>
              <a:gd name="T2" fmla="*/ 43 w 849"/>
              <a:gd name="T3" fmla="*/ 501 h 620"/>
              <a:gd name="T4" fmla="*/ 271 w 849"/>
              <a:gd name="T5" fmla="*/ 577 h 620"/>
              <a:gd name="T6" fmla="*/ 730 w 849"/>
              <a:gd name="T7" fmla="*/ 348 h 620"/>
              <a:gd name="T8" fmla="*/ 730 w 849"/>
              <a:gd name="T9" fmla="*/ 348 h 620"/>
              <a:gd name="T10" fmla="*/ 806 w 849"/>
              <a:gd name="T11" fmla="*/ 119 h 620"/>
              <a:gd name="T12" fmla="*/ 806 w 849"/>
              <a:gd name="T13" fmla="*/ 119 h 620"/>
              <a:gd name="T14" fmla="*/ 577 w 849"/>
              <a:gd name="T15" fmla="*/ 43 h 620"/>
              <a:gd name="T16" fmla="*/ 119 w 849"/>
              <a:gd name="T17" fmla="*/ 272 h 620"/>
              <a:gd name="T18" fmla="*/ 119 w 849"/>
              <a:gd name="T19" fmla="*/ 272 h 620"/>
              <a:gd name="T20" fmla="*/ 43 w 849"/>
              <a:gd name="T21" fmla="*/ 501 h 6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849" h="620">
                <a:moveTo>
                  <a:pt x="43" y="501"/>
                </a:moveTo>
                <a:lnTo>
                  <a:pt x="43" y="501"/>
                </a:lnTo>
                <a:cubicBezTo>
                  <a:pt x="85" y="586"/>
                  <a:pt x="187" y="619"/>
                  <a:pt x="271" y="577"/>
                </a:cubicBezTo>
                <a:lnTo>
                  <a:pt x="730" y="348"/>
                </a:lnTo>
                <a:lnTo>
                  <a:pt x="730" y="348"/>
                </a:lnTo>
                <a:cubicBezTo>
                  <a:pt x="814" y="306"/>
                  <a:pt x="848" y="204"/>
                  <a:pt x="806" y="119"/>
                </a:cubicBezTo>
                <a:lnTo>
                  <a:pt x="806" y="119"/>
                </a:lnTo>
                <a:cubicBezTo>
                  <a:pt x="764" y="35"/>
                  <a:pt x="661" y="0"/>
                  <a:pt x="577" y="43"/>
                </a:cubicBezTo>
                <a:lnTo>
                  <a:pt x="119" y="272"/>
                </a:lnTo>
                <a:lnTo>
                  <a:pt x="119" y="272"/>
                </a:lnTo>
                <a:cubicBezTo>
                  <a:pt x="34" y="314"/>
                  <a:pt x="0" y="416"/>
                  <a:pt x="43" y="501"/>
                </a:cubicBezTo>
              </a:path>
            </a:pathLst>
          </a:custGeom>
          <a:solidFill>
            <a:srgbClr val="142F4E"/>
          </a:solidFill>
          <a:ln>
            <a:noFill/>
          </a:ln>
          <a:effectLst/>
        </p:spPr>
        <p:txBody>
          <a:bodyPr wrap="none" anchor="ctr"/>
          <a:lstStyle/>
          <a:p>
            <a:endParaRPr lang="es-ES_tradnl"/>
          </a:p>
        </p:txBody>
      </p:sp>
      <p:sp>
        <p:nvSpPr>
          <p:cNvPr id="53" name="Freeform 55">
            <a:extLst>
              <a:ext uri="{FF2B5EF4-FFF2-40B4-BE49-F238E27FC236}">
                <a16:creationId xmlns:a16="http://schemas.microsoft.com/office/drawing/2014/main" xmlns="" id="{635E4D41-BEDE-49BB-B569-2D9077E795DD}"/>
              </a:ext>
            </a:extLst>
          </p:cNvPr>
          <p:cNvSpPr>
            <a:spLocks noChangeArrowheads="1"/>
          </p:cNvSpPr>
          <p:nvPr userDrawn="1"/>
        </p:nvSpPr>
        <p:spPr bwMode="auto">
          <a:xfrm rot="20015839" flipH="1">
            <a:off x="9250944" y="1523980"/>
            <a:ext cx="283226" cy="284583"/>
          </a:xfrm>
          <a:custGeom>
            <a:avLst/>
            <a:gdLst>
              <a:gd name="T0" fmla="*/ 42 w 390"/>
              <a:gd name="T1" fmla="*/ 271 h 391"/>
              <a:gd name="T2" fmla="*/ 42 w 390"/>
              <a:gd name="T3" fmla="*/ 271 h 391"/>
              <a:gd name="T4" fmla="*/ 270 w 390"/>
              <a:gd name="T5" fmla="*/ 348 h 391"/>
              <a:gd name="T6" fmla="*/ 270 w 390"/>
              <a:gd name="T7" fmla="*/ 348 h 391"/>
              <a:gd name="T8" fmla="*/ 347 w 390"/>
              <a:gd name="T9" fmla="*/ 119 h 391"/>
              <a:gd name="T10" fmla="*/ 347 w 390"/>
              <a:gd name="T11" fmla="*/ 119 h 391"/>
              <a:gd name="T12" fmla="*/ 118 w 390"/>
              <a:gd name="T13" fmla="*/ 42 h 391"/>
              <a:gd name="T14" fmla="*/ 118 w 390"/>
              <a:gd name="T15" fmla="*/ 42 h 391"/>
              <a:gd name="T16" fmla="*/ 42 w 390"/>
              <a:gd name="T17" fmla="*/ 271 h 39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390" h="391">
                <a:moveTo>
                  <a:pt x="42" y="271"/>
                </a:moveTo>
                <a:lnTo>
                  <a:pt x="42" y="271"/>
                </a:lnTo>
                <a:cubicBezTo>
                  <a:pt x="84" y="356"/>
                  <a:pt x="187" y="390"/>
                  <a:pt x="270" y="348"/>
                </a:cubicBezTo>
                <a:lnTo>
                  <a:pt x="270" y="348"/>
                </a:lnTo>
                <a:cubicBezTo>
                  <a:pt x="355" y="306"/>
                  <a:pt x="389" y="203"/>
                  <a:pt x="347" y="119"/>
                </a:cubicBezTo>
                <a:lnTo>
                  <a:pt x="347" y="119"/>
                </a:lnTo>
                <a:cubicBezTo>
                  <a:pt x="305" y="34"/>
                  <a:pt x="202" y="0"/>
                  <a:pt x="118" y="42"/>
                </a:cubicBezTo>
                <a:lnTo>
                  <a:pt x="118" y="42"/>
                </a:lnTo>
                <a:cubicBezTo>
                  <a:pt x="34" y="84"/>
                  <a:pt x="0" y="187"/>
                  <a:pt x="42" y="271"/>
                </a:cubicBezTo>
              </a:path>
            </a:pathLst>
          </a:custGeom>
          <a:solidFill>
            <a:srgbClr val="142F4E"/>
          </a:solidFill>
          <a:ln>
            <a:noFill/>
          </a:ln>
          <a:effectLst/>
        </p:spPr>
        <p:txBody>
          <a:bodyPr wrap="none" anchor="ctr"/>
          <a:lstStyle/>
          <a:p>
            <a:endParaRPr lang="es-ES_tradnl"/>
          </a:p>
        </p:txBody>
      </p:sp>
      <p:sp>
        <p:nvSpPr>
          <p:cNvPr id="54" name="Freeform 53">
            <a:extLst>
              <a:ext uri="{FF2B5EF4-FFF2-40B4-BE49-F238E27FC236}">
                <a16:creationId xmlns:a16="http://schemas.microsoft.com/office/drawing/2014/main" xmlns="" id="{8EC80629-A50E-41F6-9C67-20EDE12D6815}"/>
              </a:ext>
            </a:extLst>
          </p:cNvPr>
          <p:cNvSpPr>
            <a:spLocks noChangeArrowheads="1"/>
          </p:cNvSpPr>
          <p:nvPr userDrawn="1"/>
        </p:nvSpPr>
        <p:spPr bwMode="auto">
          <a:xfrm rot="20015839" flipH="1">
            <a:off x="9944439" y="128250"/>
            <a:ext cx="5902672" cy="3076040"/>
          </a:xfrm>
          <a:custGeom>
            <a:avLst/>
            <a:gdLst>
              <a:gd name="T0" fmla="*/ 42 w 8086"/>
              <a:gd name="T1" fmla="*/ 4120 h 4240"/>
              <a:gd name="T2" fmla="*/ 42 w 8086"/>
              <a:gd name="T3" fmla="*/ 4120 h 4240"/>
              <a:gd name="T4" fmla="*/ 272 w 8086"/>
              <a:gd name="T5" fmla="*/ 4197 h 4240"/>
              <a:gd name="T6" fmla="*/ 7967 w 8086"/>
              <a:gd name="T7" fmla="*/ 349 h 4240"/>
              <a:gd name="T8" fmla="*/ 7967 w 8086"/>
              <a:gd name="T9" fmla="*/ 349 h 4240"/>
              <a:gd name="T10" fmla="*/ 8043 w 8086"/>
              <a:gd name="T11" fmla="*/ 119 h 4240"/>
              <a:gd name="T12" fmla="*/ 8043 w 8086"/>
              <a:gd name="T13" fmla="*/ 119 h 4240"/>
              <a:gd name="T14" fmla="*/ 7814 w 8086"/>
              <a:gd name="T15" fmla="*/ 43 h 4240"/>
              <a:gd name="T16" fmla="*/ 118 w 8086"/>
              <a:gd name="T17" fmla="*/ 3891 h 4240"/>
              <a:gd name="T18" fmla="*/ 118 w 8086"/>
              <a:gd name="T19" fmla="*/ 3891 h 4240"/>
              <a:gd name="T20" fmla="*/ 42 w 8086"/>
              <a:gd name="T21" fmla="*/ 4120 h 42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8086" h="4240">
                <a:moveTo>
                  <a:pt x="42" y="4120"/>
                </a:moveTo>
                <a:lnTo>
                  <a:pt x="42" y="4120"/>
                </a:lnTo>
                <a:cubicBezTo>
                  <a:pt x="84" y="4205"/>
                  <a:pt x="187" y="4239"/>
                  <a:pt x="272" y="4197"/>
                </a:cubicBezTo>
                <a:lnTo>
                  <a:pt x="7967" y="349"/>
                </a:lnTo>
                <a:lnTo>
                  <a:pt x="7967" y="349"/>
                </a:lnTo>
                <a:cubicBezTo>
                  <a:pt x="8051" y="307"/>
                  <a:pt x="8085" y="204"/>
                  <a:pt x="8043" y="119"/>
                </a:cubicBezTo>
                <a:lnTo>
                  <a:pt x="8043" y="119"/>
                </a:lnTo>
                <a:cubicBezTo>
                  <a:pt x="8001" y="35"/>
                  <a:pt x="7899" y="0"/>
                  <a:pt x="7814" y="43"/>
                </a:cubicBezTo>
                <a:lnTo>
                  <a:pt x="118" y="3891"/>
                </a:lnTo>
                <a:lnTo>
                  <a:pt x="118" y="3891"/>
                </a:lnTo>
                <a:cubicBezTo>
                  <a:pt x="34" y="3933"/>
                  <a:pt x="0" y="4036"/>
                  <a:pt x="42" y="4120"/>
                </a:cubicBezTo>
              </a:path>
            </a:pathLst>
          </a:custGeom>
          <a:solidFill>
            <a:srgbClr val="142F4E"/>
          </a:solidFill>
          <a:ln>
            <a:noFill/>
          </a:ln>
          <a:effectLst/>
        </p:spPr>
        <p:txBody>
          <a:bodyPr wrap="none" anchor="ctr"/>
          <a:lstStyle/>
          <a:p>
            <a:endParaRPr lang="es-ES_tradnl"/>
          </a:p>
        </p:txBody>
      </p:sp>
      <p:sp>
        <p:nvSpPr>
          <p:cNvPr id="56" name="Freeform: Shape 7696">
            <a:extLst>
              <a:ext uri="{FF2B5EF4-FFF2-40B4-BE49-F238E27FC236}">
                <a16:creationId xmlns:a16="http://schemas.microsoft.com/office/drawing/2014/main" xmlns="" id="{63D1ACAB-44E7-4B78-8896-1DC990FC082D}"/>
              </a:ext>
            </a:extLst>
          </p:cNvPr>
          <p:cNvSpPr/>
          <p:nvPr/>
        </p:nvSpPr>
        <p:spPr>
          <a:xfrm rot="4800">
            <a:off x="8302042" y="3717401"/>
            <a:ext cx="2180965" cy="2183910"/>
          </a:xfrm>
          <a:custGeom>
            <a:avLst/>
            <a:gdLst/>
            <a:ahLst/>
            <a:cxnLst>
              <a:cxn ang="3cd4">
                <a:pos x="hc" y="t"/>
              </a:cxn>
              <a:cxn ang="cd2">
                <a:pos x="l" y="vc"/>
              </a:cxn>
              <a:cxn ang="cd4">
                <a:pos x="hc" y="b"/>
              </a:cxn>
              <a:cxn ang="0">
                <a:pos x="r" y="vc"/>
              </a:cxn>
            </a:cxnLst>
            <a:rect l="l" t="t" r="r" b="b"/>
            <a:pathLst>
              <a:path w="742" h="743">
                <a:moveTo>
                  <a:pt x="742" y="372"/>
                </a:moveTo>
                <a:cubicBezTo>
                  <a:pt x="742" y="577"/>
                  <a:pt x="576" y="743"/>
                  <a:pt x="371" y="743"/>
                </a:cubicBezTo>
                <a:cubicBezTo>
                  <a:pt x="166" y="743"/>
                  <a:pt x="0" y="577"/>
                  <a:pt x="0" y="372"/>
                </a:cubicBezTo>
                <a:cubicBezTo>
                  <a:pt x="0" y="166"/>
                  <a:pt x="166" y="0"/>
                  <a:pt x="371" y="0"/>
                </a:cubicBezTo>
                <a:cubicBezTo>
                  <a:pt x="576" y="0"/>
                  <a:pt x="742" y="166"/>
                  <a:pt x="742" y="372"/>
                </a:cubicBezTo>
                <a:close/>
              </a:path>
            </a:pathLst>
          </a:custGeom>
          <a:solidFill>
            <a:schemeClr val="accent1"/>
          </a:solidFill>
          <a:ln cap="flat">
            <a:noFill/>
            <a:prstDash val="solid"/>
          </a:ln>
        </p:spPr>
        <p:txBody>
          <a:bodyPr vert="horz" wrap="none" lIns="45000" tIns="22500" rIns="45000" bIns="22500" anchor="ctr" anchorCtr="1" compatLnSpc="0"/>
          <a:lstStyle/>
          <a:p>
            <a:pPr hangingPunct="0"/>
            <a:endParaRPr lang="en-US" sz="900">
              <a:latin typeface="Arial" pitchFamily="18"/>
              <a:ea typeface="Arial Unicode MS" pitchFamily="2"/>
              <a:cs typeface="Arial Unicode MS" pitchFamily="2"/>
            </a:endParaRPr>
          </a:p>
        </p:txBody>
      </p:sp>
    </p:spTree>
    <p:extLst>
      <p:ext uri="{BB962C8B-B14F-4D97-AF65-F5344CB8AC3E}">
        <p14:creationId xmlns:p14="http://schemas.microsoft.com/office/powerpoint/2010/main" val="2945481669"/>
      </p:ext>
    </p:extLst>
  </p:cSld>
  <p:clrMapOvr>
    <a:masterClrMapping/>
  </p:clrMapOvr>
  <p:extLst>
    <p:ext uri="{DCECCB84-F9BA-43D5-87BE-67443E8EF086}">
      <p15:sldGuideLst xmlns:p15="http://schemas.microsoft.com/office/powerpoint/2012/main" xmlns="">
        <p15:guide id="1" orient="horz" pos="391">
          <p15:clr>
            <a:srgbClr val="FBAE40"/>
          </p15:clr>
        </p15:guide>
        <p15:guide id="3" pos="3840">
          <p15:clr>
            <a:srgbClr val="FBAE40"/>
          </p15:clr>
        </p15:guide>
        <p15:guide id="4" pos="438">
          <p15:clr>
            <a:srgbClr val="FBAE40"/>
          </p15:clr>
        </p15:guide>
        <p15:guide id="5" pos="2593">
          <p15:clr>
            <a:srgbClr val="FBAE40"/>
          </p15:clr>
        </p15:guide>
        <p15:guide id="6" orient="horz" pos="2840">
          <p15:clr>
            <a:srgbClr val="FBAE40"/>
          </p15:clr>
        </p15:guide>
        <p15:guide id="7" orient="horz" pos="2568">
          <p15:clr>
            <a:srgbClr val="FBAE40"/>
          </p15:clr>
        </p15:guide>
        <p15:guide id="8" pos="4498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nteile 1 cm = 10 %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5E8BE331-C93C-4A62-8706-E5CDAF2B355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6000" y="576000"/>
            <a:ext cx="10515600" cy="427877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3200" baseline="0">
                <a:solidFill>
                  <a:srgbClr val="FFFFFF"/>
                </a:solidFill>
                <a:latin typeface="Roboto Medium" panose="02000000000000000000" pitchFamily="2" charset="0"/>
                <a:ea typeface="Roboto Medium" panose="02000000000000000000" pitchFamily="2" charset="0"/>
              </a:defRPr>
            </a:lvl1pPr>
          </a:lstStyle>
          <a:p>
            <a:r>
              <a:rPr lang="en-US" dirty="0" err="1"/>
              <a:t>Hier</a:t>
            </a:r>
            <a:r>
              <a:rPr lang="en-US" dirty="0"/>
              <a:t> </a:t>
            </a:r>
            <a:r>
              <a:rPr lang="en-US" dirty="0" err="1"/>
              <a:t>steht</a:t>
            </a:r>
            <a:r>
              <a:rPr lang="en-US" dirty="0"/>
              <a:t> </a:t>
            </a:r>
            <a:r>
              <a:rPr lang="en-US" dirty="0" err="1"/>
              <a:t>eine</a:t>
            </a:r>
            <a:r>
              <a:rPr lang="en-US" dirty="0"/>
              <a:t> </a:t>
            </a:r>
            <a:r>
              <a:rPr lang="en-US" dirty="0" err="1"/>
              <a:t>Überschrift</a:t>
            </a:r>
            <a:endParaRPr lang="en-IN" dirty="0"/>
          </a:p>
        </p:txBody>
      </p:sp>
      <p:sp>
        <p:nvSpPr>
          <p:cNvPr id="3" name="Freeform: Shape 2978">
            <a:extLst>
              <a:ext uri="{FF2B5EF4-FFF2-40B4-BE49-F238E27FC236}">
                <a16:creationId xmlns:a16="http://schemas.microsoft.com/office/drawing/2014/main" xmlns="" id="{BC4BF759-3320-8044-9488-185795DEF91D}"/>
              </a:ext>
            </a:extLst>
          </p:cNvPr>
          <p:cNvSpPr/>
          <p:nvPr userDrawn="1"/>
        </p:nvSpPr>
        <p:spPr>
          <a:xfrm>
            <a:off x="5770000" y="2561744"/>
            <a:ext cx="3600000" cy="219600"/>
          </a:xfrm>
          <a:custGeom>
            <a:avLst/>
            <a:gdLst/>
            <a:ahLst/>
            <a:cxnLst>
              <a:cxn ang="3cd4">
                <a:pos x="hc" y="t"/>
              </a:cxn>
              <a:cxn ang="cd2">
                <a:pos x="l" y="vc"/>
              </a:cxn>
              <a:cxn ang="cd4">
                <a:pos x="hc" y="b"/>
              </a:cxn>
              <a:cxn ang="0">
                <a:pos x="r" y="vc"/>
              </a:cxn>
            </a:cxnLst>
            <a:rect l="l" t="t" r="r" b="b"/>
            <a:pathLst>
              <a:path w="661" h="59">
                <a:moveTo>
                  <a:pt x="661" y="59"/>
                </a:moveTo>
                <a:lnTo>
                  <a:pt x="0" y="59"/>
                </a:lnTo>
                <a:lnTo>
                  <a:pt x="0" y="0"/>
                </a:lnTo>
                <a:lnTo>
                  <a:pt x="661" y="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 cap="flat">
            <a:noFill/>
            <a:prstDash val="solid"/>
          </a:ln>
        </p:spPr>
        <p:txBody>
          <a:bodyPr vert="horz" wrap="none" lIns="45000" tIns="22500" rIns="45000" bIns="22500" anchor="ctr" anchorCtr="1" compatLnSpc="0"/>
          <a:lstStyle/>
          <a:p>
            <a:pPr hangingPunct="0"/>
            <a:endParaRPr lang="en-US" sz="900">
              <a:latin typeface="Arial" pitchFamily="18"/>
              <a:ea typeface="Arial Unicode MS" pitchFamily="2"/>
              <a:cs typeface="Arial Unicode MS" pitchFamily="2"/>
            </a:endParaRPr>
          </a:p>
        </p:txBody>
      </p:sp>
      <p:sp>
        <p:nvSpPr>
          <p:cNvPr id="4" name="Freeform: Shape 2991">
            <a:extLst>
              <a:ext uri="{FF2B5EF4-FFF2-40B4-BE49-F238E27FC236}">
                <a16:creationId xmlns:a16="http://schemas.microsoft.com/office/drawing/2014/main" xmlns="" id="{0ECB9FB3-D388-F34F-83E3-77EB25940642}"/>
              </a:ext>
            </a:extLst>
          </p:cNvPr>
          <p:cNvSpPr/>
          <p:nvPr userDrawn="1"/>
        </p:nvSpPr>
        <p:spPr>
          <a:xfrm>
            <a:off x="5770000" y="3558758"/>
            <a:ext cx="3600000" cy="219600"/>
          </a:xfrm>
          <a:custGeom>
            <a:avLst/>
            <a:gdLst/>
            <a:ahLst/>
            <a:cxnLst>
              <a:cxn ang="3cd4">
                <a:pos x="hc" y="t"/>
              </a:cxn>
              <a:cxn ang="cd2">
                <a:pos x="l" y="vc"/>
              </a:cxn>
              <a:cxn ang="cd4">
                <a:pos x="hc" y="b"/>
              </a:cxn>
              <a:cxn ang="0">
                <a:pos x="r" y="vc"/>
              </a:cxn>
            </a:cxnLst>
            <a:rect l="l" t="t" r="r" b="b"/>
            <a:pathLst>
              <a:path w="353" h="60">
                <a:moveTo>
                  <a:pt x="353" y="60"/>
                </a:moveTo>
                <a:lnTo>
                  <a:pt x="0" y="60"/>
                </a:lnTo>
                <a:lnTo>
                  <a:pt x="0" y="0"/>
                </a:lnTo>
                <a:lnTo>
                  <a:pt x="353" y="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 cap="flat">
            <a:noFill/>
            <a:prstDash val="solid"/>
          </a:ln>
        </p:spPr>
        <p:txBody>
          <a:bodyPr vert="horz" wrap="none" lIns="45000" tIns="22500" rIns="45000" bIns="22500" anchor="ctr" anchorCtr="1" compatLnSpc="0"/>
          <a:lstStyle/>
          <a:p>
            <a:pPr hangingPunct="0"/>
            <a:endParaRPr lang="en-US" sz="900">
              <a:latin typeface="Arial" pitchFamily="18"/>
              <a:ea typeface="Arial Unicode MS" pitchFamily="2"/>
              <a:cs typeface="Arial Unicode MS" pitchFamily="2"/>
            </a:endParaRPr>
          </a:p>
        </p:txBody>
      </p:sp>
      <p:sp>
        <p:nvSpPr>
          <p:cNvPr id="5" name="Freeform: Shape 3004">
            <a:extLst>
              <a:ext uri="{FF2B5EF4-FFF2-40B4-BE49-F238E27FC236}">
                <a16:creationId xmlns:a16="http://schemas.microsoft.com/office/drawing/2014/main" xmlns="" id="{65F92976-AF92-7E47-8FD1-64CEC51281A0}"/>
              </a:ext>
            </a:extLst>
          </p:cNvPr>
          <p:cNvSpPr/>
          <p:nvPr userDrawn="1"/>
        </p:nvSpPr>
        <p:spPr>
          <a:xfrm>
            <a:off x="5770000" y="4555772"/>
            <a:ext cx="3600000" cy="219600"/>
          </a:xfrm>
          <a:custGeom>
            <a:avLst/>
            <a:gdLst/>
            <a:ahLst/>
            <a:cxnLst>
              <a:cxn ang="3cd4">
                <a:pos x="hc" y="t"/>
              </a:cxn>
              <a:cxn ang="cd2">
                <a:pos x="l" y="vc"/>
              </a:cxn>
              <a:cxn ang="cd4">
                <a:pos x="hc" y="b"/>
              </a:cxn>
              <a:cxn ang="0">
                <a:pos x="r" y="vc"/>
              </a:cxn>
            </a:cxnLst>
            <a:rect l="l" t="t" r="r" b="b"/>
            <a:pathLst>
              <a:path w="1155" h="60">
                <a:moveTo>
                  <a:pt x="1155" y="60"/>
                </a:moveTo>
                <a:lnTo>
                  <a:pt x="0" y="60"/>
                </a:lnTo>
                <a:lnTo>
                  <a:pt x="0" y="0"/>
                </a:lnTo>
                <a:lnTo>
                  <a:pt x="1155" y="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 cap="flat">
            <a:noFill/>
            <a:prstDash val="solid"/>
          </a:ln>
        </p:spPr>
        <p:txBody>
          <a:bodyPr vert="horz" wrap="none" lIns="45000" tIns="22500" rIns="45000" bIns="22500" anchor="ctr" anchorCtr="1" compatLnSpc="0"/>
          <a:lstStyle/>
          <a:p>
            <a:pPr hangingPunct="0"/>
            <a:endParaRPr lang="en-US" sz="900">
              <a:latin typeface="Arial" pitchFamily="18"/>
              <a:ea typeface="Arial Unicode MS" pitchFamily="2"/>
              <a:cs typeface="Arial Unicode MS" pitchFamily="2"/>
            </a:endParaRPr>
          </a:p>
        </p:txBody>
      </p:sp>
      <p:sp>
        <p:nvSpPr>
          <p:cNvPr id="6" name="Freeform: Shape 2986">
            <a:extLst>
              <a:ext uri="{FF2B5EF4-FFF2-40B4-BE49-F238E27FC236}">
                <a16:creationId xmlns:a16="http://schemas.microsoft.com/office/drawing/2014/main" xmlns="" id="{4DE66ACE-B362-FD40-B737-62784B993E03}"/>
              </a:ext>
            </a:extLst>
          </p:cNvPr>
          <p:cNvSpPr/>
          <p:nvPr userDrawn="1"/>
        </p:nvSpPr>
        <p:spPr>
          <a:xfrm>
            <a:off x="4631032" y="2230433"/>
            <a:ext cx="876768" cy="876768"/>
          </a:xfrm>
          <a:custGeom>
            <a:avLst/>
            <a:gdLst/>
            <a:ahLst/>
            <a:cxnLst>
              <a:cxn ang="3cd4">
                <a:pos x="hc" y="t"/>
              </a:cxn>
              <a:cxn ang="cd2">
                <a:pos x="l" y="vc"/>
              </a:cxn>
              <a:cxn ang="cd4">
                <a:pos x="hc" y="b"/>
              </a:cxn>
              <a:cxn ang="0">
                <a:pos x="r" y="vc"/>
              </a:cxn>
            </a:cxnLst>
            <a:rect l="l" t="t" r="r" b="b"/>
            <a:pathLst>
              <a:path w="231" h="231">
                <a:moveTo>
                  <a:pt x="231" y="116"/>
                </a:moveTo>
                <a:cubicBezTo>
                  <a:pt x="231" y="179"/>
                  <a:pt x="179" y="231"/>
                  <a:pt x="115" y="231"/>
                </a:cubicBezTo>
                <a:cubicBezTo>
                  <a:pt x="51" y="231"/>
                  <a:pt x="0" y="179"/>
                  <a:pt x="0" y="116"/>
                </a:cubicBezTo>
                <a:cubicBezTo>
                  <a:pt x="0" y="52"/>
                  <a:pt x="51" y="0"/>
                  <a:pt x="115" y="0"/>
                </a:cubicBezTo>
                <a:cubicBezTo>
                  <a:pt x="179" y="0"/>
                  <a:pt x="231" y="52"/>
                  <a:pt x="231" y="116"/>
                </a:cubicBezTo>
                <a:close/>
              </a:path>
            </a:pathLst>
          </a:custGeom>
          <a:solidFill>
            <a:schemeClr val="accent1"/>
          </a:solidFill>
          <a:ln cap="flat">
            <a:noFill/>
            <a:prstDash val="solid"/>
          </a:ln>
        </p:spPr>
        <p:txBody>
          <a:bodyPr vert="horz" wrap="none" lIns="45000" tIns="22500" rIns="45000" bIns="22500" anchor="ctr" anchorCtr="1" compatLnSpc="0"/>
          <a:lstStyle/>
          <a:p>
            <a:pPr hangingPunct="0"/>
            <a:endParaRPr lang="en-US" sz="900">
              <a:latin typeface="Arial" pitchFamily="18"/>
              <a:ea typeface="Arial Unicode MS" pitchFamily="2"/>
              <a:cs typeface="Arial Unicode MS" pitchFamily="2"/>
            </a:endParaRPr>
          </a:p>
        </p:txBody>
      </p:sp>
      <p:sp>
        <p:nvSpPr>
          <p:cNvPr id="7" name="Freeform: Shape 2999">
            <a:extLst>
              <a:ext uri="{FF2B5EF4-FFF2-40B4-BE49-F238E27FC236}">
                <a16:creationId xmlns:a16="http://schemas.microsoft.com/office/drawing/2014/main" xmlns="" id="{2D3B525A-742E-0F43-A1C4-FE60DC1B4ECF}"/>
              </a:ext>
            </a:extLst>
          </p:cNvPr>
          <p:cNvSpPr/>
          <p:nvPr userDrawn="1"/>
        </p:nvSpPr>
        <p:spPr>
          <a:xfrm>
            <a:off x="4631032" y="3225362"/>
            <a:ext cx="876768" cy="880580"/>
          </a:xfrm>
          <a:custGeom>
            <a:avLst/>
            <a:gdLst/>
            <a:ahLst/>
            <a:cxnLst>
              <a:cxn ang="3cd4">
                <a:pos x="hc" y="t"/>
              </a:cxn>
              <a:cxn ang="cd2">
                <a:pos x="l" y="vc"/>
              </a:cxn>
              <a:cxn ang="cd4">
                <a:pos x="hc" y="b"/>
              </a:cxn>
              <a:cxn ang="0">
                <a:pos x="r" y="vc"/>
              </a:cxn>
            </a:cxnLst>
            <a:rect l="l" t="t" r="r" b="b"/>
            <a:pathLst>
              <a:path w="231" h="232">
                <a:moveTo>
                  <a:pt x="231" y="116"/>
                </a:moveTo>
                <a:cubicBezTo>
                  <a:pt x="231" y="180"/>
                  <a:pt x="179" y="232"/>
                  <a:pt x="115" y="232"/>
                </a:cubicBezTo>
                <a:cubicBezTo>
                  <a:pt x="51" y="232"/>
                  <a:pt x="0" y="180"/>
                  <a:pt x="0" y="116"/>
                </a:cubicBezTo>
                <a:cubicBezTo>
                  <a:pt x="0" y="52"/>
                  <a:pt x="51" y="0"/>
                  <a:pt x="115" y="0"/>
                </a:cubicBezTo>
                <a:cubicBezTo>
                  <a:pt x="179" y="0"/>
                  <a:pt x="231" y="52"/>
                  <a:pt x="231" y="116"/>
                </a:cubicBezTo>
                <a:close/>
              </a:path>
            </a:pathLst>
          </a:custGeom>
          <a:solidFill>
            <a:schemeClr val="accent2"/>
          </a:solidFill>
          <a:ln cap="flat">
            <a:noFill/>
            <a:prstDash val="solid"/>
          </a:ln>
        </p:spPr>
        <p:txBody>
          <a:bodyPr vert="horz" wrap="none" lIns="45000" tIns="22500" rIns="45000" bIns="22500" anchor="ctr" anchorCtr="1" compatLnSpc="0"/>
          <a:lstStyle/>
          <a:p>
            <a:pPr hangingPunct="0"/>
            <a:endParaRPr lang="en-US" sz="900">
              <a:latin typeface="Arial" pitchFamily="18"/>
              <a:ea typeface="Arial Unicode MS" pitchFamily="2"/>
              <a:cs typeface="Arial Unicode MS" pitchFamily="2"/>
            </a:endParaRPr>
          </a:p>
        </p:txBody>
      </p:sp>
      <p:sp>
        <p:nvSpPr>
          <p:cNvPr id="8" name="Freeform: Shape 3014">
            <a:extLst>
              <a:ext uri="{FF2B5EF4-FFF2-40B4-BE49-F238E27FC236}">
                <a16:creationId xmlns:a16="http://schemas.microsoft.com/office/drawing/2014/main" xmlns="" id="{A9686BDF-DDEB-654F-B7B6-5A8C3CAA89E5}"/>
              </a:ext>
            </a:extLst>
          </p:cNvPr>
          <p:cNvSpPr/>
          <p:nvPr userDrawn="1"/>
        </p:nvSpPr>
        <p:spPr>
          <a:xfrm>
            <a:off x="4631032" y="4224125"/>
            <a:ext cx="876768" cy="876768"/>
          </a:xfrm>
          <a:custGeom>
            <a:avLst/>
            <a:gdLst/>
            <a:ahLst/>
            <a:cxnLst>
              <a:cxn ang="3cd4">
                <a:pos x="hc" y="t"/>
              </a:cxn>
              <a:cxn ang="cd2">
                <a:pos x="l" y="vc"/>
              </a:cxn>
              <a:cxn ang="cd4">
                <a:pos x="hc" y="b"/>
              </a:cxn>
              <a:cxn ang="0">
                <a:pos x="r" y="vc"/>
              </a:cxn>
            </a:cxnLst>
            <a:rect l="l" t="t" r="r" b="b"/>
            <a:pathLst>
              <a:path w="231" h="231">
                <a:moveTo>
                  <a:pt x="231" y="115"/>
                </a:moveTo>
                <a:cubicBezTo>
                  <a:pt x="231" y="179"/>
                  <a:pt x="179" y="231"/>
                  <a:pt x="115" y="231"/>
                </a:cubicBezTo>
                <a:cubicBezTo>
                  <a:pt x="51" y="231"/>
                  <a:pt x="0" y="179"/>
                  <a:pt x="0" y="115"/>
                </a:cubicBezTo>
                <a:cubicBezTo>
                  <a:pt x="0" y="52"/>
                  <a:pt x="51" y="0"/>
                  <a:pt x="115" y="0"/>
                </a:cubicBezTo>
                <a:cubicBezTo>
                  <a:pt x="179" y="0"/>
                  <a:pt x="231" y="52"/>
                  <a:pt x="231" y="115"/>
                </a:cubicBezTo>
                <a:close/>
              </a:path>
            </a:pathLst>
          </a:custGeom>
          <a:solidFill>
            <a:schemeClr val="accent3"/>
          </a:solidFill>
          <a:ln cap="flat">
            <a:noFill/>
            <a:prstDash val="solid"/>
          </a:ln>
        </p:spPr>
        <p:txBody>
          <a:bodyPr vert="horz" wrap="none" lIns="45000" tIns="22500" rIns="45000" bIns="22500" anchor="ctr" anchorCtr="1" compatLnSpc="0"/>
          <a:lstStyle/>
          <a:p>
            <a:pPr hangingPunct="0"/>
            <a:endParaRPr lang="en-US" sz="900">
              <a:latin typeface="Arial" pitchFamily="18"/>
              <a:ea typeface="Arial Unicode MS" pitchFamily="2"/>
              <a:cs typeface="Arial Unicode MS" pitchFamily="2"/>
            </a:endParaRPr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0" hasCustomPrompt="1"/>
          </p:nvPr>
        </p:nvSpPr>
        <p:spPr>
          <a:xfrm>
            <a:off x="2689918" y="2534766"/>
            <a:ext cx="1940517" cy="268102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600"/>
            </a:lvl1pPr>
          </a:lstStyle>
          <a:p>
            <a:pPr lvl="0"/>
            <a:r>
              <a:rPr lang="de-DE" dirty="0"/>
              <a:t>Beispieltext Nr. 01</a:t>
            </a:r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1" hasCustomPrompt="1"/>
          </p:nvPr>
        </p:nvSpPr>
        <p:spPr>
          <a:xfrm>
            <a:off x="2678448" y="3530652"/>
            <a:ext cx="1940400" cy="270000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600"/>
            </a:lvl1pPr>
          </a:lstStyle>
          <a:p>
            <a:pPr lvl="0"/>
            <a:r>
              <a:rPr lang="de-DE" dirty="0"/>
              <a:t>Beispieltext Nr. 02</a:t>
            </a:r>
          </a:p>
        </p:txBody>
      </p:sp>
      <p:sp>
        <p:nvSpPr>
          <p:cNvPr id="14" name="Textplatzhalter 13"/>
          <p:cNvSpPr>
            <a:spLocks noGrp="1"/>
          </p:cNvSpPr>
          <p:nvPr>
            <p:ph type="body" sz="quarter" idx="12" hasCustomPrompt="1"/>
          </p:nvPr>
        </p:nvSpPr>
        <p:spPr>
          <a:xfrm>
            <a:off x="2678448" y="4527509"/>
            <a:ext cx="1940400" cy="270000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600"/>
            </a:lvl1pPr>
          </a:lstStyle>
          <a:p>
            <a:pPr lvl="0"/>
            <a:r>
              <a:rPr lang="de-DE" dirty="0"/>
              <a:t>Beispieltext Nr. 03</a:t>
            </a:r>
          </a:p>
        </p:txBody>
      </p:sp>
      <p:sp>
        <p:nvSpPr>
          <p:cNvPr id="16" name="Textplatzhalter 15"/>
          <p:cNvSpPr>
            <a:spLocks noGrp="1"/>
          </p:cNvSpPr>
          <p:nvPr>
            <p:ph type="body" sz="quarter" idx="13" hasCustomPrompt="1"/>
          </p:nvPr>
        </p:nvSpPr>
        <p:spPr>
          <a:xfrm>
            <a:off x="4654288" y="2466835"/>
            <a:ext cx="853512" cy="640344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2600"/>
            </a:lvl1pPr>
          </a:lstStyle>
          <a:p>
            <a:pPr lvl="0"/>
            <a:r>
              <a:rPr lang="de-DE" dirty="0"/>
              <a:t>50 %</a:t>
            </a:r>
          </a:p>
        </p:txBody>
      </p:sp>
      <p:sp>
        <p:nvSpPr>
          <p:cNvPr id="18" name="Textplatzhalter 17"/>
          <p:cNvSpPr>
            <a:spLocks noGrp="1"/>
          </p:cNvSpPr>
          <p:nvPr>
            <p:ph type="body" sz="quarter" idx="14" hasCustomPrompt="1"/>
          </p:nvPr>
        </p:nvSpPr>
        <p:spPr>
          <a:xfrm>
            <a:off x="4642816" y="3457958"/>
            <a:ext cx="853200" cy="640800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baseline="0"/>
            </a:lvl1pPr>
          </a:lstStyle>
          <a:p>
            <a:pPr lvl="0"/>
            <a:r>
              <a:rPr lang="de-DE" dirty="0"/>
              <a:t>30 %</a:t>
            </a:r>
          </a:p>
        </p:txBody>
      </p:sp>
      <p:sp>
        <p:nvSpPr>
          <p:cNvPr id="20" name="Textplatzhalter 19"/>
          <p:cNvSpPr>
            <a:spLocks noGrp="1"/>
          </p:cNvSpPr>
          <p:nvPr>
            <p:ph type="body" sz="quarter" idx="15" hasCustomPrompt="1"/>
          </p:nvPr>
        </p:nvSpPr>
        <p:spPr>
          <a:xfrm>
            <a:off x="4642816" y="4453402"/>
            <a:ext cx="853200" cy="640800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pPr lvl="0"/>
            <a:r>
              <a:rPr lang="de-DE" dirty="0"/>
              <a:t>80 %</a:t>
            </a:r>
          </a:p>
        </p:txBody>
      </p:sp>
    </p:spTree>
    <p:extLst>
      <p:ext uri="{BB962C8B-B14F-4D97-AF65-F5344CB8AC3E}">
        <p14:creationId xmlns:p14="http://schemas.microsoft.com/office/powerpoint/2010/main" val="908131974"/>
      </p:ext>
    </p:extLst>
  </p:cSld>
  <p:clrMapOvr>
    <a:masterClrMapping/>
  </p:clrMapOvr>
  <p:extLst>
    <p:ext uri="{DCECCB84-F9BA-43D5-87BE-67443E8EF086}">
      <p15:sldGuideLst xmlns:p15="http://schemas.microsoft.com/office/powerpoint/2012/main" xmlns="">
        <p15:guide id="1" orient="horz" pos="391">
          <p15:clr>
            <a:srgbClr val="FBAE40"/>
          </p15:clr>
        </p15:guide>
        <p15:guide id="3" pos="3840">
          <p15:clr>
            <a:srgbClr val="FBAE40"/>
          </p15:clr>
        </p15:guide>
        <p15:guide id="4" pos="438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Überschrift Bild und Textblo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5E8BE331-C93C-4A62-8706-E5CDAF2B355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6000" y="576000"/>
            <a:ext cx="10515600" cy="427877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3200" baseline="0">
                <a:solidFill>
                  <a:srgbClr val="FFFFFF"/>
                </a:solidFill>
                <a:latin typeface="Roboto Medium" panose="02000000000000000000" pitchFamily="2" charset="0"/>
                <a:ea typeface="Roboto Medium" panose="02000000000000000000" pitchFamily="2" charset="0"/>
              </a:defRPr>
            </a:lvl1pPr>
          </a:lstStyle>
          <a:p>
            <a:r>
              <a:rPr lang="en-US" dirty="0" err="1"/>
              <a:t>Hier</a:t>
            </a:r>
            <a:r>
              <a:rPr lang="en-US" dirty="0"/>
              <a:t> </a:t>
            </a:r>
            <a:r>
              <a:rPr lang="en-US" dirty="0" err="1"/>
              <a:t>könnte</a:t>
            </a:r>
            <a:r>
              <a:rPr lang="en-US" dirty="0"/>
              <a:t> </a:t>
            </a:r>
            <a:r>
              <a:rPr lang="en-US" dirty="0" err="1"/>
              <a:t>Ihre</a:t>
            </a:r>
            <a:r>
              <a:rPr lang="en-US" dirty="0"/>
              <a:t> </a:t>
            </a:r>
            <a:r>
              <a:rPr lang="en-US" dirty="0" err="1"/>
              <a:t>Überschrift</a:t>
            </a:r>
            <a:r>
              <a:rPr lang="en-US" dirty="0"/>
              <a:t> </a:t>
            </a:r>
            <a:r>
              <a:rPr lang="en-US" dirty="0" err="1"/>
              <a:t>stehen</a:t>
            </a:r>
            <a:endParaRPr lang="en-IN" dirty="0"/>
          </a:p>
        </p:txBody>
      </p:sp>
      <p:cxnSp>
        <p:nvCxnSpPr>
          <p:cNvPr id="14" name="Gerader Verbinder 13"/>
          <p:cNvCxnSpPr/>
          <p:nvPr userDrawn="1"/>
        </p:nvCxnSpPr>
        <p:spPr>
          <a:xfrm>
            <a:off x="6088319" y="2160000"/>
            <a:ext cx="4320000" cy="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31" name="Textplatzhalter 30"/>
          <p:cNvSpPr>
            <a:spLocks noGrp="1"/>
          </p:cNvSpPr>
          <p:nvPr>
            <p:ph type="body" sz="quarter" idx="11" hasCustomPrompt="1"/>
          </p:nvPr>
        </p:nvSpPr>
        <p:spPr>
          <a:xfrm>
            <a:off x="5999575" y="2340000"/>
            <a:ext cx="4408744" cy="3348909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lang="de-DE" sz="1600" kern="1200" smtClean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+mn-cs"/>
              </a:defRPr>
            </a:lvl1pPr>
            <a:lvl2pPr marL="457200" indent="0">
              <a:buFontTx/>
              <a:buNone/>
              <a:defRPr lang="de-DE" sz="1600" kern="1200" smtClean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+mn-cs"/>
              </a:defRPr>
            </a:lvl2pPr>
            <a:lvl3pPr>
              <a:buFontTx/>
              <a:buNone/>
              <a:defRPr lang="de-DE" sz="1600" kern="1200" smtClean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+mn-cs"/>
              </a:defRPr>
            </a:lvl3pPr>
            <a:lvl4pPr marL="1371600" indent="0">
              <a:buFontTx/>
              <a:buNone/>
              <a:defRPr lang="de-DE" sz="1600" kern="1200" smtClean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+mn-cs"/>
              </a:defRPr>
            </a:lvl4pPr>
            <a:lvl5pPr marL="1828800" indent="0">
              <a:buFontTx/>
              <a:buNone/>
              <a:defRPr lang="de-DE" sz="1600" kern="12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+mn-cs"/>
              </a:defRPr>
            </a:lvl5pPr>
          </a:lstStyle>
          <a:p>
            <a:pPr>
              <a:lnSpc>
                <a:spcPts val="2400"/>
              </a:lnSpc>
            </a:pP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Lorem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ipsum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dolor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sit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amet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,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consetetur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sadipscing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elitr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,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sed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diam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nonumy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eirmod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tempor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invidunt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ut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labore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 et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dolore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 magna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aliquyam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erat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,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sed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diam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voluptua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. At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vero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eos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 et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accusam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 et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justo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duo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dolores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 et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ea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rebum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.</a:t>
            </a:r>
            <a:r>
              <a:rPr lang="de-DE" sz="1600" baseline="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Lorem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ipsum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dolor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,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consetetur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sadipscing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elitr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,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sed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diam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nonumy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eirmod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tempor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invidunt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ut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labore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 et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dolore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 magna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aliquyam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erat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,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sed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diam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voluptua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. At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vero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eos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 et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accusam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 et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justo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duo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dolores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 et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ea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rebum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. Stet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clita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kasd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gubergren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,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no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sea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takimata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est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Lorem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ipsum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dolor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sit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amet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.</a:t>
            </a:r>
          </a:p>
        </p:txBody>
      </p:sp>
      <p:sp>
        <p:nvSpPr>
          <p:cNvPr id="33" name="Textplatzhalter 32"/>
          <p:cNvSpPr>
            <a:spLocks noGrp="1"/>
          </p:cNvSpPr>
          <p:nvPr>
            <p:ph type="body" sz="quarter" idx="12" hasCustomPrompt="1"/>
          </p:nvPr>
        </p:nvSpPr>
        <p:spPr>
          <a:xfrm>
            <a:off x="5999575" y="1728000"/>
            <a:ext cx="4408744" cy="403225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lang="de-DE" sz="2000" kern="1200" dirty="0" smtClean="0">
                <a:solidFill>
                  <a:schemeClr val="accent5"/>
                </a:solidFill>
                <a:latin typeface="Roboto Cn" pitchFamily="2" charset="0"/>
                <a:ea typeface="Roboto Cn" pitchFamily="2" charset="0"/>
                <a:cs typeface="+mn-cs"/>
              </a:defRPr>
            </a:lvl1pPr>
            <a:lvl2pPr>
              <a:defRPr lang="de-DE" sz="2000" kern="1200" dirty="0" smtClean="0">
                <a:solidFill>
                  <a:schemeClr val="accent5"/>
                </a:solidFill>
                <a:latin typeface="Roboto Cn" pitchFamily="2" charset="0"/>
                <a:ea typeface="Roboto Cn" pitchFamily="2" charset="0"/>
                <a:cs typeface="+mn-cs"/>
              </a:defRPr>
            </a:lvl2pPr>
            <a:lvl3pPr>
              <a:defRPr lang="de-DE" sz="2000" kern="1200" dirty="0" smtClean="0">
                <a:solidFill>
                  <a:schemeClr val="accent5"/>
                </a:solidFill>
                <a:latin typeface="Roboto Cn" pitchFamily="2" charset="0"/>
                <a:ea typeface="Roboto Cn" pitchFamily="2" charset="0"/>
                <a:cs typeface="+mn-cs"/>
              </a:defRPr>
            </a:lvl3pPr>
            <a:lvl4pPr>
              <a:defRPr lang="de-DE" sz="2000" kern="1200" dirty="0" smtClean="0">
                <a:solidFill>
                  <a:schemeClr val="accent5"/>
                </a:solidFill>
                <a:latin typeface="Roboto Cn" pitchFamily="2" charset="0"/>
                <a:ea typeface="Roboto Cn" pitchFamily="2" charset="0"/>
                <a:cs typeface="+mn-cs"/>
              </a:defRPr>
            </a:lvl4pPr>
            <a:lvl5pPr>
              <a:defRPr lang="de-DE" sz="2000" kern="1200" dirty="0">
                <a:solidFill>
                  <a:schemeClr val="accent5"/>
                </a:solidFill>
                <a:latin typeface="Roboto Cn" pitchFamily="2" charset="0"/>
                <a:ea typeface="Roboto Cn" pitchFamily="2" charset="0"/>
                <a:cs typeface="+mn-cs"/>
              </a:defRPr>
            </a:lvl5pPr>
          </a:lstStyle>
          <a:p>
            <a:pPr lvl="0"/>
            <a:r>
              <a:rPr lang="de-DE" dirty="0"/>
              <a:t>Überschrift kurz</a:t>
            </a:r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3" hasCustomPrompt="1"/>
          </p:nvPr>
        </p:nvSpPr>
        <p:spPr>
          <a:xfrm>
            <a:off x="695325" y="1700214"/>
            <a:ext cx="4321175" cy="5215844"/>
          </a:xfrm>
          <a:prstGeom prst="rect">
            <a:avLst/>
          </a:prstGeom>
        </p:spPr>
        <p:txBody>
          <a:bodyPr/>
          <a:lstStyle>
            <a:lvl1pPr>
              <a:defRPr baseline="0"/>
            </a:lvl1pPr>
          </a:lstStyle>
          <a:p>
            <a:r>
              <a:rPr lang="de-DE" dirty="0"/>
              <a:t>Hier Foto/Grafik platzieren</a:t>
            </a:r>
          </a:p>
        </p:txBody>
      </p:sp>
    </p:spTree>
    <p:extLst>
      <p:ext uri="{BB962C8B-B14F-4D97-AF65-F5344CB8AC3E}">
        <p14:creationId xmlns:p14="http://schemas.microsoft.com/office/powerpoint/2010/main" val="2910004814"/>
      </p:ext>
    </p:extLst>
  </p:cSld>
  <p:clrMapOvr>
    <a:masterClrMapping/>
  </p:clrMapOvr>
  <p:extLst>
    <p:ext uri="{DCECCB84-F9BA-43D5-87BE-67443E8EF086}">
      <p15:sldGuideLst xmlns:p15="http://schemas.microsoft.com/office/powerpoint/2012/main" xmlns="">
        <p15:guide id="1" orient="horz" pos="1071" userDrawn="1">
          <p15:clr>
            <a:srgbClr val="FBAE40"/>
          </p15:clr>
        </p15:guide>
        <p15:guide id="3" pos="3840">
          <p15:clr>
            <a:srgbClr val="FBAE40"/>
          </p15:clr>
        </p15:guide>
        <p15:guide id="4" pos="3160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to/Grafik mi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5E8BE331-C93C-4A62-8706-E5CDAF2B355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325" y="5842000"/>
            <a:ext cx="9744075" cy="682625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defRPr sz="5200" baseline="0">
                <a:solidFill>
                  <a:srgbClr val="FFFFFF"/>
                </a:solidFill>
                <a:latin typeface="Roboto Medium" panose="02000000000000000000" pitchFamily="2" charset="0"/>
                <a:ea typeface="Roboto Medium" panose="02000000000000000000" pitchFamily="2" charset="0"/>
              </a:defRPr>
            </a:lvl1pPr>
          </a:lstStyle>
          <a:p>
            <a:r>
              <a:rPr lang="en-US" dirty="0" err="1"/>
              <a:t>Hier</a:t>
            </a:r>
            <a:r>
              <a:rPr lang="en-US" dirty="0"/>
              <a:t> </a:t>
            </a:r>
            <a:r>
              <a:rPr lang="en-US" dirty="0" err="1"/>
              <a:t>ist</a:t>
            </a:r>
            <a:r>
              <a:rPr lang="en-US" dirty="0"/>
              <a:t> </a:t>
            </a:r>
            <a:r>
              <a:rPr lang="en-US" dirty="0" err="1"/>
              <a:t>Platz</a:t>
            </a:r>
            <a:r>
              <a:rPr lang="en-US" dirty="0"/>
              <a:t> für Text</a:t>
            </a:r>
            <a:endParaRPr lang="en-IN" dirty="0"/>
          </a:p>
        </p:txBody>
      </p:sp>
      <p:sp>
        <p:nvSpPr>
          <p:cNvPr id="7" name="Bildplatzhalter 6"/>
          <p:cNvSpPr>
            <a:spLocks noGrp="1" noChangeAspect="1"/>
          </p:cNvSpPr>
          <p:nvPr>
            <p:ph type="pic" sz="quarter" idx="10" hasCustomPrompt="1"/>
          </p:nvPr>
        </p:nvSpPr>
        <p:spPr>
          <a:xfrm>
            <a:off x="-360600" y="620713"/>
            <a:ext cx="11160000" cy="5221287"/>
          </a:xfrm>
          <a:prstGeom prst="roundRect">
            <a:avLst>
              <a:gd name="adj" fmla="val 6086"/>
            </a:avLst>
          </a:prstGeom>
        </p:spPr>
        <p:txBody>
          <a:bodyPr/>
          <a:lstStyle>
            <a:lvl1pPr marL="0" indent="0">
              <a:buFontTx/>
              <a:buNone/>
              <a:defRPr baseline="0"/>
            </a:lvl1pPr>
          </a:lstStyle>
          <a:p>
            <a:r>
              <a:rPr lang="de-DE" dirty="0"/>
              <a:t>   Hier großflächig Foto/Grafik platzieren</a:t>
            </a:r>
          </a:p>
        </p:txBody>
      </p:sp>
    </p:spTree>
    <p:extLst>
      <p:ext uri="{BB962C8B-B14F-4D97-AF65-F5344CB8AC3E}">
        <p14:creationId xmlns:p14="http://schemas.microsoft.com/office/powerpoint/2010/main" val="2500194932"/>
      </p:ext>
    </p:extLst>
  </p:cSld>
  <p:clrMapOvr>
    <a:masterClrMapping/>
  </p:clrMapOvr>
  <p:extLst>
    <p:ext uri="{DCECCB84-F9BA-43D5-87BE-67443E8EF086}">
      <p15:sldGuideLst xmlns:p15="http://schemas.microsoft.com/office/powerpoint/2012/main" xmlns="">
        <p15:guide id="1" orient="horz" pos="391">
          <p15:clr>
            <a:srgbClr val="FBAE40"/>
          </p15:clr>
        </p15:guide>
        <p15:guide id="3" pos="3840">
          <p15:clr>
            <a:srgbClr val="FBAE40"/>
          </p15:clr>
        </p15:guide>
        <p15:guide id="4" pos="438">
          <p15:clr>
            <a:srgbClr val="FBAE40"/>
          </p15:clr>
        </p15:guide>
        <p15:guide id="5" pos="2593">
          <p15:clr>
            <a:srgbClr val="FBAE40"/>
          </p15:clr>
        </p15:guide>
        <p15:guide id="6" orient="horz" pos="3680" userDrawn="1">
          <p15:clr>
            <a:srgbClr val="FBAE40"/>
          </p15:clr>
        </p15:guide>
        <p15:guide id="7" orient="horz" pos="4110" userDrawn="1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intergrund cyan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5E8BE331-C93C-4A62-8706-E5CDAF2B355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6000" y="576000"/>
            <a:ext cx="10515600" cy="427877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3200" baseline="0">
                <a:solidFill>
                  <a:srgbClr val="FFFFFF"/>
                </a:solidFill>
                <a:latin typeface="Roboto Medium" panose="02000000000000000000" pitchFamily="2" charset="0"/>
                <a:ea typeface="Roboto Medium" panose="02000000000000000000" pitchFamily="2" charset="0"/>
              </a:defRPr>
            </a:lvl1pPr>
          </a:lstStyle>
          <a:p>
            <a:r>
              <a:rPr lang="en-US" dirty="0" err="1"/>
              <a:t>Hier</a:t>
            </a:r>
            <a:r>
              <a:rPr lang="en-US" dirty="0"/>
              <a:t> </a:t>
            </a:r>
            <a:r>
              <a:rPr lang="en-US" dirty="0" err="1"/>
              <a:t>steht</a:t>
            </a:r>
            <a:r>
              <a:rPr lang="en-US" dirty="0"/>
              <a:t> </a:t>
            </a:r>
            <a:r>
              <a:rPr lang="en-US" dirty="0" err="1"/>
              <a:t>eine</a:t>
            </a:r>
            <a:r>
              <a:rPr lang="en-US" dirty="0"/>
              <a:t> </a:t>
            </a:r>
            <a:r>
              <a:rPr lang="en-US" dirty="0" err="1"/>
              <a:t>Überschrift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504172123"/>
      </p:ext>
    </p:extLst>
  </p:cSld>
  <p:clrMapOvr>
    <a:masterClrMapping/>
  </p:clrMapOvr>
  <p:extLst>
    <p:ext uri="{DCECCB84-F9BA-43D5-87BE-67443E8EF086}">
      <p15:sldGuideLst xmlns:p15="http://schemas.microsoft.com/office/powerpoint/2012/main" xmlns="">
        <p15:guide id="1" orient="horz" pos="391">
          <p15:clr>
            <a:srgbClr val="FBAE40"/>
          </p15:clr>
        </p15:guide>
        <p15:guide id="3" pos="3840">
          <p15:clr>
            <a:srgbClr val="FBAE40"/>
          </p15:clr>
        </p15:guide>
        <p15:guide id="4" pos="438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_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BF5F9214-F451-477A-B617-5C74A4CD23D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1364043"/>
            <a:ext cx="9144000" cy="2387600"/>
          </a:xfrm>
          <a:prstGeom prst="rect">
            <a:avLst/>
          </a:prstGeom>
        </p:spPr>
        <p:txBody>
          <a:bodyPr anchor="b"/>
          <a:lstStyle>
            <a:lvl1pPr algn="ctr">
              <a:defRPr sz="6000" b="0" i="0">
                <a:latin typeface="Roboto Bold" panose="02000000000000000000" pitchFamily="2" charset="0"/>
                <a:ea typeface="Roboto Bold" panose="02000000000000000000" pitchFamily="2" charset="0"/>
              </a:defRPr>
            </a:lvl1pPr>
          </a:lstStyle>
          <a:p>
            <a:r>
              <a:rPr lang="en-US" dirty="0" err="1"/>
              <a:t>Veranstaltungstitel</a:t>
            </a:r>
            <a:endParaRPr lang="en-IN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xmlns="" id="{A446D049-F822-4B92-BFB6-EE0B8087C4C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843718"/>
            <a:ext cx="9144000" cy="165576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 baseline="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Name | </a:t>
            </a:r>
            <a:r>
              <a:rPr lang="en-US" dirty="0" err="1"/>
              <a:t>Sommersemester</a:t>
            </a:r>
            <a:r>
              <a:rPr lang="en-US" dirty="0"/>
              <a:t> 20/21</a:t>
            </a:r>
            <a:endParaRPr lang="en-IN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2A015C8F-4B03-4CAB-938B-829BF3912EA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A1110BE-A5D8-4C06-9CB1-4FB89613DA60}" type="datetimeFigureOut">
              <a:rPr lang="en-IN" smtClean="0"/>
              <a:t>28-09-2021</a:t>
            </a:fld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A4B34EB5-5905-4004-9361-2CA7FD68158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51482FF6-A66B-48BE-88D8-FC37E170B75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72AEF7-1C8C-4F27-9F91-265614AC2E4C}" type="slidenum">
              <a:rPr lang="en-IN" smtClean="0"/>
              <a:t>‹Nr.›</a:t>
            </a:fld>
            <a:endParaRPr lang="en-IN"/>
          </a:p>
        </p:txBody>
      </p:sp>
      <p:sp>
        <p:nvSpPr>
          <p:cNvPr id="7" name="Abgerundetes Rechteck 6"/>
          <p:cNvSpPr/>
          <p:nvPr userDrawn="1"/>
        </p:nvSpPr>
        <p:spPr>
          <a:xfrm>
            <a:off x="9266861" y="4652186"/>
            <a:ext cx="4258491" cy="1876302"/>
          </a:xfrm>
          <a:prstGeom prst="round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8" name="Grafik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52356" y="4872116"/>
            <a:ext cx="2102613" cy="1441642"/>
          </a:xfrm>
          <a:prstGeom prst="rect">
            <a:avLst/>
          </a:prstGeom>
        </p:spPr>
      </p:pic>
      <p:grpSp>
        <p:nvGrpSpPr>
          <p:cNvPr id="9" name="Group 398">
            <a:extLst>
              <a:ext uri="{FF2B5EF4-FFF2-40B4-BE49-F238E27FC236}">
                <a16:creationId xmlns:a16="http://schemas.microsoft.com/office/drawing/2014/main" xmlns="" id="{0ACBE998-B713-48BD-ACB9-2C2C4A5B7580}"/>
              </a:ext>
            </a:extLst>
          </p:cNvPr>
          <p:cNvGrpSpPr/>
          <p:nvPr userDrawn="1"/>
        </p:nvGrpSpPr>
        <p:grpSpPr>
          <a:xfrm rot="10800000" flipH="1">
            <a:off x="-3344845" y="-2433663"/>
            <a:ext cx="14922466" cy="4506760"/>
            <a:chOff x="-2422178" y="5261733"/>
            <a:chExt cx="14922466" cy="4506760"/>
          </a:xfrm>
        </p:grpSpPr>
        <p:sp>
          <p:nvSpPr>
            <p:cNvPr id="10" name="Freeform 30">
              <a:extLst>
                <a:ext uri="{FF2B5EF4-FFF2-40B4-BE49-F238E27FC236}">
                  <a16:creationId xmlns:a16="http://schemas.microsoft.com/office/drawing/2014/main" xmlns="" id="{BC9DBB31-3642-429B-8493-00B04FAFFE6A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11369540">
              <a:off x="4650590" y="6327328"/>
              <a:ext cx="5899454" cy="3076040"/>
            </a:xfrm>
            <a:custGeom>
              <a:avLst/>
              <a:gdLst>
                <a:gd name="T0" fmla="*/ 42 w 8085"/>
                <a:gd name="T1" fmla="*/ 4120 h 4240"/>
                <a:gd name="T2" fmla="*/ 42 w 8085"/>
                <a:gd name="T3" fmla="*/ 4120 h 4240"/>
                <a:gd name="T4" fmla="*/ 271 w 8085"/>
                <a:gd name="T5" fmla="*/ 4197 h 4240"/>
                <a:gd name="T6" fmla="*/ 7966 w 8085"/>
                <a:gd name="T7" fmla="*/ 348 h 4240"/>
                <a:gd name="T8" fmla="*/ 7966 w 8085"/>
                <a:gd name="T9" fmla="*/ 348 h 4240"/>
                <a:gd name="T10" fmla="*/ 8042 w 8085"/>
                <a:gd name="T11" fmla="*/ 119 h 4240"/>
                <a:gd name="T12" fmla="*/ 8042 w 8085"/>
                <a:gd name="T13" fmla="*/ 119 h 4240"/>
                <a:gd name="T14" fmla="*/ 7813 w 8085"/>
                <a:gd name="T15" fmla="*/ 42 h 4240"/>
                <a:gd name="T16" fmla="*/ 119 w 8085"/>
                <a:gd name="T17" fmla="*/ 3891 h 4240"/>
                <a:gd name="T18" fmla="*/ 119 w 8085"/>
                <a:gd name="T19" fmla="*/ 3891 h 4240"/>
                <a:gd name="T20" fmla="*/ 42 w 8085"/>
                <a:gd name="T21" fmla="*/ 4120 h 42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085" h="4240">
                  <a:moveTo>
                    <a:pt x="42" y="4120"/>
                  </a:moveTo>
                  <a:lnTo>
                    <a:pt x="42" y="4120"/>
                  </a:lnTo>
                  <a:cubicBezTo>
                    <a:pt x="85" y="4205"/>
                    <a:pt x="187" y="4239"/>
                    <a:pt x="271" y="4197"/>
                  </a:cubicBezTo>
                  <a:lnTo>
                    <a:pt x="7966" y="348"/>
                  </a:lnTo>
                  <a:lnTo>
                    <a:pt x="7966" y="348"/>
                  </a:lnTo>
                  <a:cubicBezTo>
                    <a:pt x="8051" y="306"/>
                    <a:pt x="8084" y="203"/>
                    <a:pt x="8042" y="119"/>
                  </a:cubicBezTo>
                  <a:lnTo>
                    <a:pt x="8042" y="119"/>
                  </a:lnTo>
                  <a:cubicBezTo>
                    <a:pt x="8000" y="35"/>
                    <a:pt x="7897" y="0"/>
                    <a:pt x="7813" y="42"/>
                  </a:cubicBezTo>
                  <a:lnTo>
                    <a:pt x="119" y="3891"/>
                  </a:lnTo>
                  <a:lnTo>
                    <a:pt x="119" y="3891"/>
                  </a:lnTo>
                  <a:cubicBezTo>
                    <a:pt x="34" y="3933"/>
                    <a:pt x="0" y="4036"/>
                    <a:pt x="42" y="4120"/>
                  </a:cubicBezTo>
                </a:path>
              </a:pathLst>
            </a:custGeom>
            <a:solidFill>
              <a:schemeClr val="accent3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s-ES_tradnl"/>
            </a:p>
          </p:txBody>
        </p:sp>
        <p:sp>
          <p:nvSpPr>
            <p:cNvPr id="11" name="Freeform 31">
              <a:extLst>
                <a:ext uri="{FF2B5EF4-FFF2-40B4-BE49-F238E27FC236}">
                  <a16:creationId xmlns:a16="http://schemas.microsoft.com/office/drawing/2014/main" xmlns="" id="{0CA2533C-D02C-4119-B06A-CC03161E290D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11369540">
              <a:off x="10881397" y="6141214"/>
              <a:ext cx="1618891" cy="946474"/>
            </a:xfrm>
            <a:custGeom>
              <a:avLst/>
              <a:gdLst>
                <a:gd name="T0" fmla="*/ 42 w 2217"/>
                <a:gd name="T1" fmla="*/ 1184 h 1304"/>
                <a:gd name="T2" fmla="*/ 42 w 2217"/>
                <a:gd name="T3" fmla="*/ 1184 h 1304"/>
                <a:gd name="T4" fmla="*/ 272 w 2217"/>
                <a:gd name="T5" fmla="*/ 1261 h 1304"/>
                <a:gd name="T6" fmla="*/ 2097 w 2217"/>
                <a:gd name="T7" fmla="*/ 348 h 1304"/>
                <a:gd name="T8" fmla="*/ 2097 w 2217"/>
                <a:gd name="T9" fmla="*/ 348 h 1304"/>
                <a:gd name="T10" fmla="*/ 2174 w 2217"/>
                <a:gd name="T11" fmla="*/ 119 h 1304"/>
                <a:gd name="T12" fmla="*/ 2174 w 2217"/>
                <a:gd name="T13" fmla="*/ 119 h 1304"/>
                <a:gd name="T14" fmla="*/ 1945 w 2217"/>
                <a:gd name="T15" fmla="*/ 42 h 1304"/>
                <a:gd name="T16" fmla="*/ 118 w 2217"/>
                <a:gd name="T17" fmla="*/ 955 h 1304"/>
                <a:gd name="T18" fmla="*/ 118 w 2217"/>
                <a:gd name="T19" fmla="*/ 955 h 1304"/>
                <a:gd name="T20" fmla="*/ 42 w 2217"/>
                <a:gd name="T21" fmla="*/ 1184 h 13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217" h="1304">
                  <a:moveTo>
                    <a:pt x="42" y="1184"/>
                  </a:moveTo>
                  <a:lnTo>
                    <a:pt x="42" y="1184"/>
                  </a:lnTo>
                  <a:cubicBezTo>
                    <a:pt x="84" y="1269"/>
                    <a:pt x="187" y="1303"/>
                    <a:pt x="272" y="1261"/>
                  </a:cubicBezTo>
                  <a:lnTo>
                    <a:pt x="2097" y="348"/>
                  </a:lnTo>
                  <a:lnTo>
                    <a:pt x="2097" y="348"/>
                  </a:lnTo>
                  <a:cubicBezTo>
                    <a:pt x="2182" y="305"/>
                    <a:pt x="2216" y="202"/>
                    <a:pt x="2174" y="119"/>
                  </a:cubicBezTo>
                  <a:lnTo>
                    <a:pt x="2174" y="119"/>
                  </a:lnTo>
                  <a:cubicBezTo>
                    <a:pt x="2132" y="34"/>
                    <a:pt x="2029" y="0"/>
                    <a:pt x="1945" y="42"/>
                  </a:cubicBezTo>
                  <a:lnTo>
                    <a:pt x="118" y="955"/>
                  </a:lnTo>
                  <a:lnTo>
                    <a:pt x="118" y="955"/>
                  </a:lnTo>
                  <a:cubicBezTo>
                    <a:pt x="34" y="997"/>
                    <a:pt x="0" y="1100"/>
                    <a:pt x="42" y="1184"/>
                  </a:cubicBezTo>
                </a:path>
              </a:pathLst>
            </a:custGeom>
            <a:solidFill>
              <a:schemeClr val="accent3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s-ES_tradnl"/>
            </a:p>
          </p:txBody>
        </p:sp>
        <p:sp>
          <p:nvSpPr>
            <p:cNvPr id="12" name="Freeform 32">
              <a:extLst>
                <a:ext uri="{FF2B5EF4-FFF2-40B4-BE49-F238E27FC236}">
                  <a16:creationId xmlns:a16="http://schemas.microsoft.com/office/drawing/2014/main" xmlns="" id="{35C59D4E-AF9E-4E82-A158-0B5784F9A712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11369540">
              <a:off x="5431363" y="6515404"/>
              <a:ext cx="5902672" cy="3076040"/>
            </a:xfrm>
            <a:custGeom>
              <a:avLst/>
              <a:gdLst>
                <a:gd name="T0" fmla="*/ 42 w 8086"/>
                <a:gd name="T1" fmla="*/ 4120 h 4240"/>
                <a:gd name="T2" fmla="*/ 42 w 8086"/>
                <a:gd name="T3" fmla="*/ 4120 h 4240"/>
                <a:gd name="T4" fmla="*/ 271 w 8086"/>
                <a:gd name="T5" fmla="*/ 4196 h 4240"/>
                <a:gd name="T6" fmla="*/ 7966 w 8086"/>
                <a:gd name="T7" fmla="*/ 348 h 4240"/>
                <a:gd name="T8" fmla="*/ 7966 w 8086"/>
                <a:gd name="T9" fmla="*/ 348 h 4240"/>
                <a:gd name="T10" fmla="*/ 8043 w 8086"/>
                <a:gd name="T11" fmla="*/ 119 h 4240"/>
                <a:gd name="T12" fmla="*/ 8043 w 8086"/>
                <a:gd name="T13" fmla="*/ 119 h 4240"/>
                <a:gd name="T14" fmla="*/ 7814 w 8086"/>
                <a:gd name="T15" fmla="*/ 42 h 4240"/>
                <a:gd name="T16" fmla="*/ 118 w 8086"/>
                <a:gd name="T17" fmla="*/ 3891 h 4240"/>
                <a:gd name="T18" fmla="*/ 118 w 8086"/>
                <a:gd name="T19" fmla="*/ 3891 h 4240"/>
                <a:gd name="T20" fmla="*/ 42 w 8086"/>
                <a:gd name="T21" fmla="*/ 4120 h 42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086" h="4240">
                  <a:moveTo>
                    <a:pt x="42" y="4120"/>
                  </a:moveTo>
                  <a:lnTo>
                    <a:pt x="42" y="4120"/>
                  </a:lnTo>
                  <a:cubicBezTo>
                    <a:pt x="84" y="4204"/>
                    <a:pt x="187" y="4239"/>
                    <a:pt x="271" y="4196"/>
                  </a:cubicBezTo>
                  <a:lnTo>
                    <a:pt x="7966" y="348"/>
                  </a:lnTo>
                  <a:lnTo>
                    <a:pt x="7966" y="348"/>
                  </a:lnTo>
                  <a:cubicBezTo>
                    <a:pt x="8051" y="305"/>
                    <a:pt x="8085" y="203"/>
                    <a:pt x="8043" y="119"/>
                  </a:cubicBezTo>
                  <a:lnTo>
                    <a:pt x="8043" y="119"/>
                  </a:lnTo>
                  <a:cubicBezTo>
                    <a:pt x="8001" y="34"/>
                    <a:pt x="7898" y="0"/>
                    <a:pt x="7814" y="42"/>
                  </a:cubicBezTo>
                  <a:lnTo>
                    <a:pt x="118" y="3891"/>
                  </a:lnTo>
                  <a:lnTo>
                    <a:pt x="118" y="3891"/>
                  </a:lnTo>
                  <a:cubicBezTo>
                    <a:pt x="34" y="3933"/>
                    <a:pt x="0" y="4036"/>
                    <a:pt x="42" y="4120"/>
                  </a:cubicBezTo>
                </a:path>
              </a:pathLst>
            </a:custGeom>
            <a:solidFill>
              <a:schemeClr val="accent4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s-ES_tradnl"/>
            </a:p>
          </p:txBody>
        </p:sp>
        <p:sp>
          <p:nvSpPr>
            <p:cNvPr id="13" name="Freeform 33">
              <a:extLst>
                <a:ext uri="{FF2B5EF4-FFF2-40B4-BE49-F238E27FC236}">
                  <a16:creationId xmlns:a16="http://schemas.microsoft.com/office/drawing/2014/main" xmlns="" id="{F6F13981-3F7C-42DF-9380-9E18F4868D37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11369540">
              <a:off x="11606436" y="6832104"/>
              <a:ext cx="418401" cy="348532"/>
            </a:xfrm>
            <a:custGeom>
              <a:avLst/>
              <a:gdLst>
                <a:gd name="T0" fmla="*/ 42 w 574"/>
                <a:gd name="T1" fmla="*/ 362 h 482"/>
                <a:gd name="T2" fmla="*/ 42 w 574"/>
                <a:gd name="T3" fmla="*/ 362 h 482"/>
                <a:gd name="T4" fmla="*/ 272 w 574"/>
                <a:gd name="T5" fmla="*/ 439 h 482"/>
                <a:gd name="T6" fmla="*/ 455 w 574"/>
                <a:gd name="T7" fmla="*/ 348 h 482"/>
                <a:gd name="T8" fmla="*/ 455 w 574"/>
                <a:gd name="T9" fmla="*/ 348 h 482"/>
                <a:gd name="T10" fmla="*/ 531 w 574"/>
                <a:gd name="T11" fmla="*/ 119 h 482"/>
                <a:gd name="T12" fmla="*/ 531 w 574"/>
                <a:gd name="T13" fmla="*/ 119 h 482"/>
                <a:gd name="T14" fmla="*/ 301 w 574"/>
                <a:gd name="T15" fmla="*/ 42 h 482"/>
                <a:gd name="T16" fmla="*/ 119 w 574"/>
                <a:gd name="T17" fmla="*/ 133 h 482"/>
                <a:gd name="T18" fmla="*/ 119 w 574"/>
                <a:gd name="T19" fmla="*/ 133 h 482"/>
                <a:gd name="T20" fmla="*/ 42 w 574"/>
                <a:gd name="T21" fmla="*/ 362 h 4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74" h="482">
                  <a:moveTo>
                    <a:pt x="42" y="362"/>
                  </a:moveTo>
                  <a:lnTo>
                    <a:pt x="42" y="362"/>
                  </a:lnTo>
                  <a:cubicBezTo>
                    <a:pt x="84" y="447"/>
                    <a:pt x="187" y="481"/>
                    <a:pt x="272" y="439"/>
                  </a:cubicBezTo>
                  <a:lnTo>
                    <a:pt x="455" y="348"/>
                  </a:lnTo>
                  <a:lnTo>
                    <a:pt x="455" y="348"/>
                  </a:lnTo>
                  <a:cubicBezTo>
                    <a:pt x="539" y="306"/>
                    <a:pt x="573" y="203"/>
                    <a:pt x="531" y="119"/>
                  </a:cubicBezTo>
                  <a:lnTo>
                    <a:pt x="531" y="119"/>
                  </a:lnTo>
                  <a:cubicBezTo>
                    <a:pt x="488" y="34"/>
                    <a:pt x="386" y="0"/>
                    <a:pt x="301" y="42"/>
                  </a:cubicBezTo>
                  <a:lnTo>
                    <a:pt x="119" y="133"/>
                  </a:lnTo>
                  <a:lnTo>
                    <a:pt x="119" y="133"/>
                  </a:lnTo>
                  <a:cubicBezTo>
                    <a:pt x="34" y="176"/>
                    <a:pt x="0" y="278"/>
                    <a:pt x="42" y="362"/>
                  </a:cubicBezTo>
                </a:path>
              </a:pathLst>
            </a:custGeom>
            <a:solidFill>
              <a:schemeClr val="accent4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s-ES_tradnl"/>
            </a:p>
          </p:txBody>
        </p:sp>
        <p:sp>
          <p:nvSpPr>
            <p:cNvPr id="14" name="Freeform 34">
              <a:extLst>
                <a:ext uri="{FF2B5EF4-FFF2-40B4-BE49-F238E27FC236}">
                  <a16:creationId xmlns:a16="http://schemas.microsoft.com/office/drawing/2014/main" xmlns="" id="{4842B147-3FFC-4787-A930-C55F84F2BD38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11369540">
              <a:off x="12128624" y="6722491"/>
              <a:ext cx="286444" cy="284583"/>
            </a:xfrm>
            <a:custGeom>
              <a:avLst/>
              <a:gdLst>
                <a:gd name="T0" fmla="*/ 43 w 392"/>
                <a:gd name="T1" fmla="*/ 272 h 392"/>
                <a:gd name="T2" fmla="*/ 43 w 392"/>
                <a:gd name="T3" fmla="*/ 272 h 392"/>
                <a:gd name="T4" fmla="*/ 272 w 392"/>
                <a:gd name="T5" fmla="*/ 349 h 392"/>
                <a:gd name="T6" fmla="*/ 272 w 392"/>
                <a:gd name="T7" fmla="*/ 349 h 392"/>
                <a:gd name="T8" fmla="*/ 349 w 392"/>
                <a:gd name="T9" fmla="*/ 119 h 392"/>
                <a:gd name="T10" fmla="*/ 349 w 392"/>
                <a:gd name="T11" fmla="*/ 119 h 392"/>
                <a:gd name="T12" fmla="*/ 120 w 392"/>
                <a:gd name="T13" fmla="*/ 43 h 392"/>
                <a:gd name="T14" fmla="*/ 120 w 392"/>
                <a:gd name="T15" fmla="*/ 43 h 392"/>
                <a:gd name="T16" fmla="*/ 43 w 392"/>
                <a:gd name="T17" fmla="*/ 272 h 3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92" h="392">
                  <a:moveTo>
                    <a:pt x="43" y="272"/>
                  </a:moveTo>
                  <a:lnTo>
                    <a:pt x="43" y="272"/>
                  </a:lnTo>
                  <a:cubicBezTo>
                    <a:pt x="85" y="356"/>
                    <a:pt x="188" y="391"/>
                    <a:pt x="272" y="349"/>
                  </a:cubicBezTo>
                  <a:lnTo>
                    <a:pt x="272" y="349"/>
                  </a:lnTo>
                  <a:cubicBezTo>
                    <a:pt x="357" y="306"/>
                    <a:pt x="391" y="204"/>
                    <a:pt x="349" y="119"/>
                  </a:cubicBezTo>
                  <a:lnTo>
                    <a:pt x="349" y="119"/>
                  </a:lnTo>
                  <a:cubicBezTo>
                    <a:pt x="306" y="34"/>
                    <a:pt x="203" y="0"/>
                    <a:pt x="120" y="43"/>
                  </a:cubicBezTo>
                  <a:lnTo>
                    <a:pt x="120" y="43"/>
                  </a:lnTo>
                  <a:cubicBezTo>
                    <a:pt x="35" y="85"/>
                    <a:pt x="0" y="188"/>
                    <a:pt x="43" y="272"/>
                  </a:cubicBezTo>
                </a:path>
              </a:pathLst>
            </a:custGeom>
            <a:solidFill>
              <a:schemeClr val="accent4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s-ES_tradnl"/>
            </a:p>
          </p:txBody>
        </p:sp>
        <p:sp>
          <p:nvSpPr>
            <p:cNvPr id="15" name="Freeform 35">
              <a:extLst>
                <a:ext uri="{FF2B5EF4-FFF2-40B4-BE49-F238E27FC236}">
                  <a16:creationId xmlns:a16="http://schemas.microsoft.com/office/drawing/2014/main" xmlns="" id="{753C22CC-947F-4053-81B4-0B9EC6085166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11369540">
              <a:off x="4897036" y="8934284"/>
              <a:ext cx="286444" cy="284583"/>
            </a:xfrm>
            <a:custGeom>
              <a:avLst/>
              <a:gdLst>
                <a:gd name="T0" fmla="*/ 42 w 392"/>
                <a:gd name="T1" fmla="*/ 272 h 392"/>
                <a:gd name="T2" fmla="*/ 42 w 392"/>
                <a:gd name="T3" fmla="*/ 272 h 392"/>
                <a:gd name="T4" fmla="*/ 272 w 392"/>
                <a:gd name="T5" fmla="*/ 349 h 392"/>
                <a:gd name="T6" fmla="*/ 272 w 392"/>
                <a:gd name="T7" fmla="*/ 349 h 392"/>
                <a:gd name="T8" fmla="*/ 348 w 392"/>
                <a:gd name="T9" fmla="*/ 119 h 392"/>
                <a:gd name="T10" fmla="*/ 348 w 392"/>
                <a:gd name="T11" fmla="*/ 119 h 392"/>
                <a:gd name="T12" fmla="*/ 119 w 392"/>
                <a:gd name="T13" fmla="*/ 43 h 392"/>
                <a:gd name="T14" fmla="*/ 119 w 392"/>
                <a:gd name="T15" fmla="*/ 43 h 392"/>
                <a:gd name="T16" fmla="*/ 42 w 392"/>
                <a:gd name="T17" fmla="*/ 272 h 3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92" h="392">
                  <a:moveTo>
                    <a:pt x="42" y="272"/>
                  </a:moveTo>
                  <a:lnTo>
                    <a:pt x="42" y="272"/>
                  </a:lnTo>
                  <a:cubicBezTo>
                    <a:pt x="85" y="357"/>
                    <a:pt x="188" y="391"/>
                    <a:pt x="272" y="349"/>
                  </a:cubicBezTo>
                  <a:lnTo>
                    <a:pt x="272" y="349"/>
                  </a:lnTo>
                  <a:cubicBezTo>
                    <a:pt x="356" y="306"/>
                    <a:pt x="391" y="204"/>
                    <a:pt x="348" y="119"/>
                  </a:cubicBezTo>
                  <a:lnTo>
                    <a:pt x="348" y="119"/>
                  </a:lnTo>
                  <a:cubicBezTo>
                    <a:pt x="306" y="35"/>
                    <a:pt x="203" y="0"/>
                    <a:pt x="119" y="43"/>
                  </a:cubicBezTo>
                  <a:lnTo>
                    <a:pt x="119" y="43"/>
                  </a:lnTo>
                  <a:cubicBezTo>
                    <a:pt x="34" y="85"/>
                    <a:pt x="0" y="188"/>
                    <a:pt x="42" y="272"/>
                  </a:cubicBezTo>
                </a:path>
              </a:pathLst>
            </a:custGeom>
            <a:solidFill>
              <a:schemeClr val="accent4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s-ES_tradnl"/>
            </a:p>
          </p:txBody>
        </p:sp>
        <p:sp>
          <p:nvSpPr>
            <p:cNvPr id="16" name="Freeform 36">
              <a:extLst>
                <a:ext uri="{FF2B5EF4-FFF2-40B4-BE49-F238E27FC236}">
                  <a16:creationId xmlns:a16="http://schemas.microsoft.com/office/drawing/2014/main" xmlns="" id="{6B4EB9F6-5DE3-42AA-AF29-CF3782431367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11369540">
              <a:off x="4950087" y="5384855"/>
              <a:ext cx="5899452" cy="3072842"/>
            </a:xfrm>
            <a:custGeom>
              <a:avLst/>
              <a:gdLst>
                <a:gd name="T0" fmla="*/ 42 w 8085"/>
                <a:gd name="T1" fmla="*/ 4120 h 4239"/>
                <a:gd name="T2" fmla="*/ 42 w 8085"/>
                <a:gd name="T3" fmla="*/ 4120 h 4239"/>
                <a:gd name="T4" fmla="*/ 272 w 8085"/>
                <a:gd name="T5" fmla="*/ 4197 h 4239"/>
                <a:gd name="T6" fmla="*/ 7966 w 8085"/>
                <a:gd name="T7" fmla="*/ 348 h 4239"/>
                <a:gd name="T8" fmla="*/ 7966 w 8085"/>
                <a:gd name="T9" fmla="*/ 348 h 4239"/>
                <a:gd name="T10" fmla="*/ 8042 w 8085"/>
                <a:gd name="T11" fmla="*/ 119 h 4239"/>
                <a:gd name="T12" fmla="*/ 8042 w 8085"/>
                <a:gd name="T13" fmla="*/ 119 h 4239"/>
                <a:gd name="T14" fmla="*/ 7813 w 8085"/>
                <a:gd name="T15" fmla="*/ 42 h 4239"/>
                <a:gd name="T16" fmla="*/ 119 w 8085"/>
                <a:gd name="T17" fmla="*/ 3891 h 4239"/>
                <a:gd name="T18" fmla="*/ 119 w 8085"/>
                <a:gd name="T19" fmla="*/ 3891 h 4239"/>
                <a:gd name="T20" fmla="*/ 42 w 8085"/>
                <a:gd name="T21" fmla="*/ 4120 h 4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085" h="4239">
                  <a:moveTo>
                    <a:pt x="42" y="4120"/>
                  </a:moveTo>
                  <a:lnTo>
                    <a:pt x="42" y="4120"/>
                  </a:lnTo>
                  <a:cubicBezTo>
                    <a:pt x="85" y="4204"/>
                    <a:pt x="187" y="4238"/>
                    <a:pt x="272" y="4197"/>
                  </a:cubicBezTo>
                  <a:lnTo>
                    <a:pt x="7966" y="348"/>
                  </a:lnTo>
                  <a:lnTo>
                    <a:pt x="7966" y="348"/>
                  </a:lnTo>
                  <a:cubicBezTo>
                    <a:pt x="8051" y="306"/>
                    <a:pt x="8084" y="203"/>
                    <a:pt x="8042" y="119"/>
                  </a:cubicBezTo>
                  <a:lnTo>
                    <a:pt x="8042" y="119"/>
                  </a:lnTo>
                  <a:cubicBezTo>
                    <a:pt x="8000" y="34"/>
                    <a:pt x="7898" y="0"/>
                    <a:pt x="7813" y="42"/>
                  </a:cubicBezTo>
                  <a:lnTo>
                    <a:pt x="119" y="3891"/>
                  </a:lnTo>
                  <a:lnTo>
                    <a:pt x="119" y="3891"/>
                  </a:lnTo>
                  <a:cubicBezTo>
                    <a:pt x="34" y="3933"/>
                    <a:pt x="0" y="4036"/>
                    <a:pt x="42" y="4120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s-ES_tradnl"/>
            </a:p>
          </p:txBody>
        </p:sp>
        <p:sp>
          <p:nvSpPr>
            <p:cNvPr id="17" name="Freeform 37">
              <a:extLst>
                <a:ext uri="{FF2B5EF4-FFF2-40B4-BE49-F238E27FC236}">
                  <a16:creationId xmlns:a16="http://schemas.microsoft.com/office/drawing/2014/main" xmlns="" id="{0400BC15-3BF8-4B64-8045-87FF54C38E6C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11369540">
              <a:off x="6276581" y="6249359"/>
              <a:ext cx="621163" cy="450856"/>
            </a:xfrm>
            <a:custGeom>
              <a:avLst/>
              <a:gdLst>
                <a:gd name="T0" fmla="*/ 42 w 849"/>
                <a:gd name="T1" fmla="*/ 501 h 620"/>
                <a:gd name="T2" fmla="*/ 42 w 849"/>
                <a:gd name="T3" fmla="*/ 501 h 620"/>
                <a:gd name="T4" fmla="*/ 271 w 849"/>
                <a:gd name="T5" fmla="*/ 577 h 620"/>
                <a:gd name="T6" fmla="*/ 729 w 849"/>
                <a:gd name="T7" fmla="*/ 348 h 620"/>
                <a:gd name="T8" fmla="*/ 729 w 849"/>
                <a:gd name="T9" fmla="*/ 348 h 620"/>
                <a:gd name="T10" fmla="*/ 805 w 849"/>
                <a:gd name="T11" fmla="*/ 118 h 620"/>
                <a:gd name="T12" fmla="*/ 805 w 849"/>
                <a:gd name="T13" fmla="*/ 118 h 620"/>
                <a:gd name="T14" fmla="*/ 576 w 849"/>
                <a:gd name="T15" fmla="*/ 42 h 620"/>
                <a:gd name="T16" fmla="*/ 118 w 849"/>
                <a:gd name="T17" fmla="*/ 271 h 620"/>
                <a:gd name="T18" fmla="*/ 118 w 849"/>
                <a:gd name="T19" fmla="*/ 271 h 620"/>
                <a:gd name="T20" fmla="*/ 42 w 849"/>
                <a:gd name="T21" fmla="*/ 501 h 6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49" h="620">
                  <a:moveTo>
                    <a:pt x="42" y="501"/>
                  </a:moveTo>
                  <a:lnTo>
                    <a:pt x="42" y="501"/>
                  </a:lnTo>
                  <a:cubicBezTo>
                    <a:pt x="84" y="584"/>
                    <a:pt x="187" y="619"/>
                    <a:pt x="271" y="577"/>
                  </a:cubicBezTo>
                  <a:lnTo>
                    <a:pt x="729" y="348"/>
                  </a:lnTo>
                  <a:lnTo>
                    <a:pt x="729" y="348"/>
                  </a:lnTo>
                  <a:cubicBezTo>
                    <a:pt x="813" y="306"/>
                    <a:pt x="848" y="203"/>
                    <a:pt x="805" y="118"/>
                  </a:cubicBezTo>
                  <a:lnTo>
                    <a:pt x="805" y="118"/>
                  </a:lnTo>
                  <a:cubicBezTo>
                    <a:pt x="763" y="34"/>
                    <a:pt x="660" y="0"/>
                    <a:pt x="576" y="42"/>
                  </a:cubicBezTo>
                  <a:lnTo>
                    <a:pt x="118" y="271"/>
                  </a:lnTo>
                  <a:lnTo>
                    <a:pt x="118" y="271"/>
                  </a:lnTo>
                  <a:cubicBezTo>
                    <a:pt x="33" y="313"/>
                    <a:pt x="0" y="416"/>
                    <a:pt x="42" y="501"/>
                  </a:cubicBezTo>
                </a:path>
              </a:pathLst>
            </a:custGeom>
            <a:solidFill>
              <a:schemeClr val="accent3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s-ES_tradnl"/>
            </a:p>
          </p:txBody>
        </p:sp>
        <p:sp>
          <p:nvSpPr>
            <p:cNvPr id="18" name="Freeform 38">
              <a:extLst>
                <a:ext uri="{FF2B5EF4-FFF2-40B4-BE49-F238E27FC236}">
                  <a16:creationId xmlns:a16="http://schemas.microsoft.com/office/drawing/2014/main" xmlns="" id="{8D5FDBB1-46D5-4C4C-A02C-340DF75B117B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11369540">
              <a:off x="4108581" y="7789124"/>
              <a:ext cx="553576" cy="415681"/>
            </a:xfrm>
            <a:custGeom>
              <a:avLst/>
              <a:gdLst>
                <a:gd name="T0" fmla="*/ 43 w 758"/>
                <a:gd name="T1" fmla="*/ 455 h 574"/>
                <a:gd name="T2" fmla="*/ 43 w 758"/>
                <a:gd name="T3" fmla="*/ 455 h 574"/>
                <a:gd name="T4" fmla="*/ 272 w 758"/>
                <a:gd name="T5" fmla="*/ 531 h 574"/>
                <a:gd name="T6" fmla="*/ 638 w 758"/>
                <a:gd name="T7" fmla="*/ 348 h 574"/>
                <a:gd name="T8" fmla="*/ 638 w 758"/>
                <a:gd name="T9" fmla="*/ 348 h 574"/>
                <a:gd name="T10" fmla="*/ 714 w 758"/>
                <a:gd name="T11" fmla="*/ 119 h 574"/>
                <a:gd name="T12" fmla="*/ 714 w 758"/>
                <a:gd name="T13" fmla="*/ 119 h 574"/>
                <a:gd name="T14" fmla="*/ 485 w 758"/>
                <a:gd name="T15" fmla="*/ 42 h 574"/>
                <a:gd name="T16" fmla="*/ 119 w 758"/>
                <a:gd name="T17" fmla="*/ 225 h 574"/>
                <a:gd name="T18" fmla="*/ 119 w 758"/>
                <a:gd name="T19" fmla="*/ 225 h 574"/>
                <a:gd name="T20" fmla="*/ 43 w 758"/>
                <a:gd name="T21" fmla="*/ 455 h 5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58" h="574">
                  <a:moveTo>
                    <a:pt x="43" y="455"/>
                  </a:moveTo>
                  <a:lnTo>
                    <a:pt x="43" y="455"/>
                  </a:lnTo>
                  <a:cubicBezTo>
                    <a:pt x="85" y="539"/>
                    <a:pt x="188" y="573"/>
                    <a:pt x="272" y="531"/>
                  </a:cubicBezTo>
                  <a:lnTo>
                    <a:pt x="638" y="348"/>
                  </a:lnTo>
                  <a:lnTo>
                    <a:pt x="638" y="348"/>
                  </a:lnTo>
                  <a:cubicBezTo>
                    <a:pt x="723" y="305"/>
                    <a:pt x="757" y="203"/>
                    <a:pt x="714" y="119"/>
                  </a:cubicBezTo>
                  <a:lnTo>
                    <a:pt x="714" y="119"/>
                  </a:lnTo>
                  <a:cubicBezTo>
                    <a:pt x="672" y="34"/>
                    <a:pt x="569" y="0"/>
                    <a:pt x="485" y="42"/>
                  </a:cubicBezTo>
                  <a:lnTo>
                    <a:pt x="119" y="225"/>
                  </a:lnTo>
                  <a:lnTo>
                    <a:pt x="119" y="225"/>
                  </a:lnTo>
                  <a:cubicBezTo>
                    <a:pt x="34" y="267"/>
                    <a:pt x="0" y="370"/>
                    <a:pt x="43" y="45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s-ES_tradnl"/>
            </a:p>
          </p:txBody>
        </p:sp>
        <p:sp>
          <p:nvSpPr>
            <p:cNvPr id="19" name="Freeform 39">
              <a:extLst>
                <a:ext uri="{FF2B5EF4-FFF2-40B4-BE49-F238E27FC236}">
                  <a16:creationId xmlns:a16="http://schemas.microsoft.com/office/drawing/2014/main" xmlns="" id="{84FFFE46-DD0A-4EA8-8072-2ED8B28FC0AD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11369540">
              <a:off x="5737739" y="5570829"/>
              <a:ext cx="5902672" cy="3072844"/>
            </a:xfrm>
            <a:custGeom>
              <a:avLst/>
              <a:gdLst>
                <a:gd name="T0" fmla="*/ 8043 w 8086"/>
                <a:gd name="T1" fmla="*/ 118 h 4239"/>
                <a:gd name="T2" fmla="*/ 8043 w 8086"/>
                <a:gd name="T3" fmla="*/ 118 h 4239"/>
                <a:gd name="T4" fmla="*/ 7814 w 8086"/>
                <a:gd name="T5" fmla="*/ 42 h 4239"/>
                <a:gd name="T6" fmla="*/ 119 w 8086"/>
                <a:gd name="T7" fmla="*/ 3890 h 4239"/>
                <a:gd name="T8" fmla="*/ 119 w 8086"/>
                <a:gd name="T9" fmla="*/ 3890 h 4239"/>
                <a:gd name="T10" fmla="*/ 42 w 8086"/>
                <a:gd name="T11" fmla="*/ 4120 h 4239"/>
                <a:gd name="T12" fmla="*/ 42 w 8086"/>
                <a:gd name="T13" fmla="*/ 4120 h 4239"/>
                <a:gd name="T14" fmla="*/ 272 w 8086"/>
                <a:gd name="T15" fmla="*/ 4196 h 4239"/>
                <a:gd name="T16" fmla="*/ 7967 w 8086"/>
                <a:gd name="T17" fmla="*/ 347 h 4239"/>
                <a:gd name="T18" fmla="*/ 7967 w 8086"/>
                <a:gd name="T19" fmla="*/ 347 h 4239"/>
                <a:gd name="T20" fmla="*/ 8043 w 8086"/>
                <a:gd name="T21" fmla="*/ 118 h 4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086" h="4239">
                  <a:moveTo>
                    <a:pt x="8043" y="118"/>
                  </a:moveTo>
                  <a:lnTo>
                    <a:pt x="8043" y="118"/>
                  </a:lnTo>
                  <a:cubicBezTo>
                    <a:pt x="8001" y="34"/>
                    <a:pt x="7898" y="0"/>
                    <a:pt x="7814" y="42"/>
                  </a:cubicBezTo>
                  <a:lnTo>
                    <a:pt x="119" y="3890"/>
                  </a:lnTo>
                  <a:lnTo>
                    <a:pt x="119" y="3890"/>
                  </a:lnTo>
                  <a:cubicBezTo>
                    <a:pt x="34" y="3932"/>
                    <a:pt x="0" y="4035"/>
                    <a:pt x="42" y="4120"/>
                  </a:cubicBezTo>
                  <a:lnTo>
                    <a:pt x="42" y="4120"/>
                  </a:lnTo>
                  <a:cubicBezTo>
                    <a:pt x="84" y="4204"/>
                    <a:pt x="187" y="4238"/>
                    <a:pt x="272" y="4196"/>
                  </a:cubicBezTo>
                  <a:lnTo>
                    <a:pt x="7967" y="347"/>
                  </a:lnTo>
                  <a:lnTo>
                    <a:pt x="7967" y="347"/>
                  </a:lnTo>
                  <a:cubicBezTo>
                    <a:pt x="8051" y="305"/>
                    <a:pt x="8085" y="203"/>
                    <a:pt x="8043" y="118"/>
                  </a:cubicBezTo>
                </a:path>
              </a:pathLst>
            </a:custGeom>
            <a:solidFill>
              <a:schemeClr val="accent2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s-ES_tradnl"/>
            </a:p>
          </p:txBody>
        </p:sp>
        <p:sp>
          <p:nvSpPr>
            <p:cNvPr id="20" name="Freeform 40">
              <a:extLst>
                <a:ext uri="{FF2B5EF4-FFF2-40B4-BE49-F238E27FC236}">
                  <a16:creationId xmlns:a16="http://schemas.microsoft.com/office/drawing/2014/main" xmlns="" id="{4A2292E7-F956-41EA-A06A-EC53C399FB66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11369540">
              <a:off x="4840522" y="7961449"/>
              <a:ext cx="617946" cy="450856"/>
            </a:xfrm>
            <a:custGeom>
              <a:avLst/>
              <a:gdLst>
                <a:gd name="T0" fmla="*/ 804 w 848"/>
                <a:gd name="T1" fmla="*/ 119 h 620"/>
                <a:gd name="T2" fmla="*/ 804 w 848"/>
                <a:gd name="T3" fmla="*/ 119 h 620"/>
                <a:gd name="T4" fmla="*/ 576 w 848"/>
                <a:gd name="T5" fmla="*/ 42 h 620"/>
                <a:gd name="T6" fmla="*/ 118 w 848"/>
                <a:gd name="T7" fmla="*/ 271 h 620"/>
                <a:gd name="T8" fmla="*/ 118 w 848"/>
                <a:gd name="T9" fmla="*/ 271 h 620"/>
                <a:gd name="T10" fmla="*/ 41 w 848"/>
                <a:gd name="T11" fmla="*/ 501 h 620"/>
                <a:gd name="T12" fmla="*/ 41 w 848"/>
                <a:gd name="T13" fmla="*/ 501 h 620"/>
                <a:gd name="T14" fmla="*/ 271 w 848"/>
                <a:gd name="T15" fmla="*/ 577 h 620"/>
                <a:gd name="T16" fmla="*/ 727 w 848"/>
                <a:gd name="T17" fmla="*/ 348 h 620"/>
                <a:gd name="T18" fmla="*/ 727 w 848"/>
                <a:gd name="T19" fmla="*/ 348 h 620"/>
                <a:gd name="T20" fmla="*/ 804 w 848"/>
                <a:gd name="T21" fmla="*/ 119 h 6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48" h="620">
                  <a:moveTo>
                    <a:pt x="804" y="119"/>
                  </a:moveTo>
                  <a:lnTo>
                    <a:pt x="804" y="119"/>
                  </a:lnTo>
                  <a:cubicBezTo>
                    <a:pt x="762" y="34"/>
                    <a:pt x="659" y="0"/>
                    <a:pt x="576" y="42"/>
                  </a:cubicBezTo>
                  <a:lnTo>
                    <a:pt x="118" y="271"/>
                  </a:lnTo>
                  <a:lnTo>
                    <a:pt x="118" y="271"/>
                  </a:lnTo>
                  <a:cubicBezTo>
                    <a:pt x="33" y="313"/>
                    <a:pt x="0" y="416"/>
                    <a:pt x="41" y="501"/>
                  </a:cubicBezTo>
                  <a:lnTo>
                    <a:pt x="41" y="501"/>
                  </a:lnTo>
                  <a:cubicBezTo>
                    <a:pt x="83" y="585"/>
                    <a:pt x="186" y="619"/>
                    <a:pt x="271" y="577"/>
                  </a:cubicBezTo>
                  <a:lnTo>
                    <a:pt x="727" y="348"/>
                  </a:lnTo>
                  <a:lnTo>
                    <a:pt x="727" y="348"/>
                  </a:lnTo>
                  <a:cubicBezTo>
                    <a:pt x="812" y="306"/>
                    <a:pt x="847" y="203"/>
                    <a:pt x="804" y="119"/>
                  </a:cubicBezTo>
                </a:path>
              </a:pathLst>
            </a:custGeom>
            <a:solidFill>
              <a:schemeClr val="accent2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s-ES_tradnl"/>
            </a:p>
          </p:txBody>
        </p:sp>
        <p:sp>
          <p:nvSpPr>
            <p:cNvPr id="21" name="Freeform 41">
              <a:extLst>
                <a:ext uri="{FF2B5EF4-FFF2-40B4-BE49-F238E27FC236}">
                  <a16:creationId xmlns:a16="http://schemas.microsoft.com/office/drawing/2014/main" xmlns="" id="{DFE1F1D1-CD3A-4269-8F5A-A05EB4378290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11369540">
              <a:off x="4440513" y="8216642"/>
              <a:ext cx="286442" cy="284583"/>
            </a:xfrm>
            <a:custGeom>
              <a:avLst/>
              <a:gdLst>
                <a:gd name="T0" fmla="*/ 348 w 391"/>
                <a:gd name="T1" fmla="*/ 119 h 391"/>
                <a:gd name="T2" fmla="*/ 348 w 391"/>
                <a:gd name="T3" fmla="*/ 119 h 391"/>
                <a:gd name="T4" fmla="*/ 118 w 391"/>
                <a:gd name="T5" fmla="*/ 42 h 391"/>
                <a:gd name="T6" fmla="*/ 118 w 391"/>
                <a:gd name="T7" fmla="*/ 42 h 391"/>
                <a:gd name="T8" fmla="*/ 42 w 391"/>
                <a:gd name="T9" fmla="*/ 271 h 391"/>
                <a:gd name="T10" fmla="*/ 42 w 391"/>
                <a:gd name="T11" fmla="*/ 271 h 391"/>
                <a:gd name="T12" fmla="*/ 271 w 391"/>
                <a:gd name="T13" fmla="*/ 348 h 391"/>
                <a:gd name="T14" fmla="*/ 271 w 391"/>
                <a:gd name="T15" fmla="*/ 348 h 391"/>
                <a:gd name="T16" fmla="*/ 348 w 391"/>
                <a:gd name="T17" fmla="*/ 119 h 3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91" h="391">
                  <a:moveTo>
                    <a:pt x="348" y="119"/>
                  </a:moveTo>
                  <a:lnTo>
                    <a:pt x="348" y="119"/>
                  </a:lnTo>
                  <a:cubicBezTo>
                    <a:pt x="305" y="34"/>
                    <a:pt x="203" y="0"/>
                    <a:pt x="118" y="42"/>
                  </a:cubicBezTo>
                  <a:lnTo>
                    <a:pt x="118" y="42"/>
                  </a:lnTo>
                  <a:cubicBezTo>
                    <a:pt x="33" y="84"/>
                    <a:pt x="0" y="187"/>
                    <a:pt x="42" y="271"/>
                  </a:cubicBezTo>
                  <a:lnTo>
                    <a:pt x="42" y="271"/>
                  </a:lnTo>
                  <a:cubicBezTo>
                    <a:pt x="84" y="356"/>
                    <a:pt x="187" y="390"/>
                    <a:pt x="271" y="348"/>
                  </a:cubicBezTo>
                  <a:lnTo>
                    <a:pt x="271" y="348"/>
                  </a:lnTo>
                  <a:cubicBezTo>
                    <a:pt x="355" y="305"/>
                    <a:pt x="390" y="203"/>
                    <a:pt x="348" y="119"/>
                  </a:cubicBezTo>
                </a:path>
              </a:pathLst>
            </a:custGeom>
            <a:solidFill>
              <a:schemeClr val="accent2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s-ES_tradnl"/>
            </a:p>
          </p:txBody>
        </p:sp>
        <p:sp>
          <p:nvSpPr>
            <p:cNvPr id="22" name="Freeform 42">
              <a:extLst>
                <a:ext uri="{FF2B5EF4-FFF2-40B4-BE49-F238E27FC236}">
                  <a16:creationId xmlns:a16="http://schemas.microsoft.com/office/drawing/2014/main" xmlns="" id="{66A507F7-D777-4144-A884-BDB8D4341DFE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11369540">
              <a:off x="11891224" y="5943648"/>
              <a:ext cx="283226" cy="284583"/>
            </a:xfrm>
            <a:custGeom>
              <a:avLst/>
              <a:gdLst>
                <a:gd name="T0" fmla="*/ 347 w 390"/>
                <a:gd name="T1" fmla="*/ 119 h 392"/>
                <a:gd name="T2" fmla="*/ 347 w 390"/>
                <a:gd name="T3" fmla="*/ 119 h 392"/>
                <a:gd name="T4" fmla="*/ 118 w 390"/>
                <a:gd name="T5" fmla="*/ 42 h 392"/>
                <a:gd name="T6" fmla="*/ 118 w 390"/>
                <a:gd name="T7" fmla="*/ 42 h 392"/>
                <a:gd name="T8" fmla="*/ 42 w 390"/>
                <a:gd name="T9" fmla="*/ 272 h 392"/>
                <a:gd name="T10" fmla="*/ 42 w 390"/>
                <a:gd name="T11" fmla="*/ 272 h 392"/>
                <a:gd name="T12" fmla="*/ 271 w 390"/>
                <a:gd name="T13" fmla="*/ 348 h 392"/>
                <a:gd name="T14" fmla="*/ 271 w 390"/>
                <a:gd name="T15" fmla="*/ 348 h 392"/>
                <a:gd name="T16" fmla="*/ 347 w 390"/>
                <a:gd name="T17" fmla="*/ 119 h 3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90" h="392">
                  <a:moveTo>
                    <a:pt x="347" y="119"/>
                  </a:moveTo>
                  <a:lnTo>
                    <a:pt x="347" y="119"/>
                  </a:lnTo>
                  <a:cubicBezTo>
                    <a:pt x="305" y="35"/>
                    <a:pt x="203" y="0"/>
                    <a:pt x="118" y="42"/>
                  </a:cubicBezTo>
                  <a:lnTo>
                    <a:pt x="118" y="42"/>
                  </a:lnTo>
                  <a:cubicBezTo>
                    <a:pt x="34" y="84"/>
                    <a:pt x="0" y="187"/>
                    <a:pt x="42" y="272"/>
                  </a:cubicBezTo>
                  <a:lnTo>
                    <a:pt x="42" y="272"/>
                  </a:lnTo>
                  <a:cubicBezTo>
                    <a:pt x="84" y="356"/>
                    <a:pt x="186" y="391"/>
                    <a:pt x="271" y="348"/>
                  </a:cubicBezTo>
                  <a:lnTo>
                    <a:pt x="271" y="348"/>
                  </a:lnTo>
                  <a:cubicBezTo>
                    <a:pt x="356" y="306"/>
                    <a:pt x="389" y="203"/>
                    <a:pt x="347" y="119"/>
                  </a:cubicBezTo>
                </a:path>
              </a:pathLst>
            </a:custGeom>
            <a:solidFill>
              <a:schemeClr val="accent2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s-ES_tradnl"/>
            </a:p>
          </p:txBody>
        </p:sp>
        <p:sp>
          <p:nvSpPr>
            <p:cNvPr id="23" name="Freeform 43">
              <a:extLst>
                <a:ext uri="{FF2B5EF4-FFF2-40B4-BE49-F238E27FC236}">
                  <a16:creationId xmlns:a16="http://schemas.microsoft.com/office/drawing/2014/main" xmlns="" id="{AC80351F-9D2D-4FF5-AB7D-4E86E6CE44EC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11369540">
              <a:off x="-2422178" y="5388390"/>
              <a:ext cx="5139894" cy="2695531"/>
            </a:xfrm>
            <a:custGeom>
              <a:avLst/>
              <a:gdLst>
                <a:gd name="T0" fmla="*/ 43 w 7042"/>
                <a:gd name="T1" fmla="*/ 3598 h 3717"/>
                <a:gd name="T2" fmla="*/ 43 w 7042"/>
                <a:gd name="T3" fmla="*/ 3598 h 3717"/>
                <a:gd name="T4" fmla="*/ 271 w 7042"/>
                <a:gd name="T5" fmla="*/ 3674 h 3717"/>
                <a:gd name="T6" fmla="*/ 6923 w 7042"/>
                <a:gd name="T7" fmla="*/ 348 h 3717"/>
                <a:gd name="T8" fmla="*/ 6923 w 7042"/>
                <a:gd name="T9" fmla="*/ 348 h 3717"/>
                <a:gd name="T10" fmla="*/ 6999 w 7042"/>
                <a:gd name="T11" fmla="*/ 119 h 3717"/>
                <a:gd name="T12" fmla="*/ 6999 w 7042"/>
                <a:gd name="T13" fmla="*/ 119 h 3717"/>
                <a:gd name="T14" fmla="*/ 6770 w 7042"/>
                <a:gd name="T15" fmla="*/ 43 h 3717"/>
                <a:gd name="T16" fmla="*/ 119 w 7042"/>
                <a:gd name="T17" fmla="*/ 3369 h 3717"/>
                <a:gd name="T18" fmla="*/ 119 w 7042"/>
                <a:gd name="T19" fmla="*/ 3369 h 3717"/>
                <a:gd name="T20" fmla="*/ 43 w 7042"/>
                <a:gd name="T21" fmla="*/ 3598 h 37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042" h="3717">
                  <a:moveTo>
                    <a:pt x="43" y="3598"/>
                  </a:moveTo>
                  <a:lnTo>
                    <a:pt x="43" y="3598"/>
                  </a:lnTo>
                  <a:cubicBezTo>
                    <a:pt x="85" y="3682"/>
                    <a:pt x="187" y="3716"/>
                    <a:pt x="271" y="3674"/>
                  </a:cubicBezTo>
                  <a:lnTo>
                    <a:pt x="6923" y="348"/>
                  </a:lnTo>
                  <a:lnTo>
                    <a:pt x="6923" y="348"/>
                  </a:lnTo>
                  <a:cubicBezTo>
                    <a:pt x="7007" y="306"/>
                    <a:pt x="7041" y="203"/>
                    <a:pt x="6999" y="119"/>
                  </a:cubicBezTo>
                  <a:lnTo>
                    <a:pt x="6999" y="119"/>
                  </a:lnTo>
                  <a:cubicBezTo>
                    <a:pt x="6957" y="34"/>
                    <a:pt x="6854" y="0"/>
                    <a:pt x="6770" y="43"/>
                  </a:cubicBezTo>
                  <a:lnTo>
                    <a:pt x="119" y="3369"/>
                  </a:lnTo>
                  <a:lnTo>
                    <a:pt x="119" y="3369"/>
                  </a:lnTo>
                  <a:cubicBezTo>
                    <a:pt x="34" y="3411"/>
                    <a:pt x="0" y="3513"/>
                    <a:pt x="43" y="3598"/>
                  </a:cubicBezTo>
                </a:path>
              </a:pathLst>
            </a:custGeom>
            <a:solidFill>
              <a:srgbClr val="002B6A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s-ES_tradnl"/>
            </a:p>
          </p:txBody>
        </p:sp>
        <p:sp>
          <p:nvSpPr>
            <p:cNvPr id="24" name="Freeform 44">
              <a:extLst>
                <a:ext uri="{FF2B5EF4-FFF2-40B4-BE49-F238E27FC236}">
                  <a16:creationId xmlns:a16="http://schemas.microsoft.com/office/drawing/2014/main" xmlns="" id="{6A8FDC9E-EDAA-4067-8967-06BC3D6332AE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11369540">
              <a:off x="79403" y="6016859"/>
              <a:ext cx="5899452" cy="3076040"/>
            </a:xfrm>
            <a:custGeom>
              <a:avLst/>
              <a:gdLst>
                <a:gd name="T0" fmla="*/ 8042 w 8085"/>
                <a:gd name="T1" fmla="*/ 119 h 4240"/>
                <a:gd name="T2" fmla="*/ 8042 w 8085"/>
                <a:gd name="T3" fmla="*/ 119 h 4240"/>
                <a:gd name="T4" fmla="*/ 7813 w 8085"/>
                <a:gd name="T5" fmla="*/ 43 h 4240"/>
                <a:gd name="T6" fmla="*/ 118 w 8085"/>
                <a:gd name="T7" fmla="*/ 3891 h 4240"/>
                <a:gd name="T8" fmla="*/ 118 w 8085"/>
                <a:gd name="T9" fmla="*/ 3891 h 4240"/>
                <a:gd name="T10" fmla="*/ 42 w 8085"/>
                <a:gd name="T11" fmla="*/ 4121 h 4240"/>
                <a:gd name="T12" fmla="*/ 42 w 8085"/>
                <a:gd name="T13" fmla="*/ 4121 h 4240"/>
                <a:gd name="T14" fmla="*/ 271 w 8085"/>
                <a:gd name="T15" fmla="*/ 4197 h 4240"/>
                <a:gd name="T16" fmla="*/ 7966 w 8085"/>
                <a:gd name="T17" fmla="*/ 348 h 4240"/>
                <a:gd name="T18" fmla="*/ 7966 w 8085"/>
                <a:gd name="T19" fmla="*/ 348 h 4240"/>
                <a:gd name="T20" fmla="*/ 8042 w 8085"/>
                <a:gd name="T21" fmla="*/ 119 h 42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085" h="4240">
                  <a:moveTo>
                    <a:pt x="8042" y="119"/>
                  </a:moveTo>
                  <a:lnTo>
                    <a:pt x="8042" y="119"/>
                  </a:lnTo>
                  <a:cubicBezTo>
                    <a:pt x="7999" y="35"/>
                    <a:pt x="7897" y="0"/>
                    <a:pt x="7813" y="43"/>
                  </a:cubicBezTo>
                  <a:lnTo>
                    <a:pt x="118" y="3891"/>
                  </a:lnTo>
                  <a:lnTo>
                    <a:pt x="118" y="3891"/>
                  </a:lnTo>
                  <a:cubicBezTo>
                    <a:pt x="34" y="3933"/>
                    <a:pt x="0" y="4036"/>
                    <a:pt x="42" y="4121"/>
                  </a:cubicBezTo>
                  <a:lnTo>
                    <a:pt x="42" y="4121"/>
                  </a:lnTo>
                  <a:cubicBezTo>
                    <a:pt x="84" y="4204"/>
                    <a:pt x="187" y="4239"/>
                    <a:pt x="271" y="4197"/>
                  </a:cubicBezTo>
                  <a:lnTo>
                    <a:pt x="7966" y="348"/>
                  </a:lnTo>
                  <a:lnTo>
                    <a:pt x="7966" y="348"/>
                  </a:lnTo>
                  <a:cubicBezTo>
                    <a:pt x="8050" y="306"/>
                    <a:pt x="8084" y="204"/>
                    <a:pt x="8042" y="119"/>
                  </a:cubicBezTo>
                </a:path>
              </a:pathLst>
            </a:custGeom>
            <a:solidFill>
              <a:schemeClr val="accent3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s-ES_tradnl"/>
            </a:p>
          </p:txBody>
        </p:sp>
        <p:sp>
          <p:nvSpPr>
            <p:cNvPr id="25" name="Freeform 45">
              <a:extLst>
                <a:ext uri="{FF2B5EF4-FFF2-40B4-BE49-F238E27FC236}">
                  <a16:creationId xmlns:a16="http://schemas.microsoft.com/office/drawing/2014/main" xmlns="" id="{97A6DCAA-2361-4B83-9136-7C67E9FC8A71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11369540">
              <a:off x="-1874015" y="8332012"/>
              <a:ext cx="1618891" cy="946474"/>
            </a:xfrm>
            <a:custGeom>
              <a:avLst/>
              <a:gdLst>
                <a:gd name="T0" fmla="*/ 2174 w 2217"/>
                <a:gd name="T1" fmla="*/ 119 h 1304"/>
                <a:gd name="T2" fmla="*/ 2174 w 2217"/>
                <a:gd name="T3" fmla="*/ 119 h 1304"/>
                <a:gd name="T4" fmla="*/ 1944 w 2217"/>
                <a:gd name="T5" fmla="*/ 42 h 1304"/>
                <a:gd name="T6" fmla="*/ 119 w 2217"/>
                <a:gd name="T7" fmla="*/ 956 h 1304"/>
                <a:gd name="T8" fmla="*/ 119 w 2217"/>
                <a:gd name="T9" fmla="*/ 956 h 1304"/>
                <a:gd name="T10" fmla="*/ 42 w 2217"/>
                <a:gd name="T11" fmla="*/ 1185 h 1304"/>
                <a:gd name="T12" fmla="*/ 42 w 2217"/>
                <a:gd name="T13" fmla="*/ 1185 h 1304"/>
                <a:gd name="T14" fmla="*/ 271 w 2217"/>
                <a:gd name="T15" fmla="*/ 1262 h 1304"/>
                <a:gd name="T16" fmla="*/ 2098 w 2217"/>
                <a:gd name="T17" fmla="*/ 348 h 1304"/>
                <a:gd name="T18" fmla="*/ 2098 w 2217"/>
                <a:gd name="T19" fmla="*/ 348 h 1304"/>
                <a:gd name="T20" fmla="*/ 2174 w 2217"/>
                <a:gd name="T21" fmla="*/ 119 h 13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217" h="1304">
                  <a:moveTo>
                    <a:pt x="2174" y="119"/>
                  </a:moveTo>
                  <a:lnTo>
                    <a:pt x="2174" y="119"/>
                  </a:lnTo>
                  <a:cubicBezTo>
                    <a:pt x="2132" y="34"/>
                    <a:pt x="2029" y="0"/>
                    <a:pt x="1944" y="42"/>
                  </a:cubicBezTo>
                  <a:lnTo>
                    <a:pt x="119" y="956"/>
                  </a:lnTo>
                  <a:lnTo>
                    <a:pt x="119" y="956"/>
                  </a:lnTo>
                  <a:cubicBezTo>
                    <a:pt x="34" y="998"/>
                    <a:pt x="0" y="1101"/>
                    <a:pt x="42" y="1185"/>
                  </a:cubicBezTo>
                  <a:lnTo>
                    <a:pt x="42" y="1185"/>
                  </a:lnTo>
                  <a:cubicBezTo>
                    <a:pt x="84" y="1269"/>
                    <a:pt x="187" y="1303"/>
                    <a:pt x="271" y="1262"/>
                  </a:cubicBezTo>
                  <a:lnTo>
                    <a:pt x="2098" y="348"/>
                  </a:lnTo>
                  <a:lnTo>
                    <a:pt x="2098" y="348"/>
                  </a:lnTo>
                  <a:cubicBezTo>
                    <a:pt x="2182" y="306"/>
                    <a:pt x="2216" y="203"/>
                    <a:pt x="2174" y="119"/>
                  </a:cubicBezTo>
                </a:path>
              </a:pathLst>
            </a:custGeom>
            <a:solidFill>
              <a:schemeClr val="accent3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s-ES_tradnl"/>
            </a:p>
          </p:txBody>
        </p:sp>
        <p:sp>
          <p:nvSpPr>
            <p:cNvPr id="26" name="Freeform 46">
              <a:extLst>
                <a:ext uri="{FF2B5EF4-FFF2-40B4-BE49-F238E27FC236}">
                  <a16:creationId xmlns:a16="http://schemas.microsoft.com/office/drawing/2014/main" xmlns="" id="{51640512-74ED-4FD7-B812-D59FE664BB75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11369540">
              <a:off x="-736290" y="6695649"/>
              <a:ext cx="5902672" cy="3072844"/>
            </a:xfrm>
            <a:custGeom>
              <a:avLst/>
              <a:gdLst>
                <a:gd name="T0" fmla="*/ 42 w 8086"/>
                <a:gd name="T1" fmla="*/ 4119 h 4239"/>
                <a:gd name="T2" fmla="*/ 42 w 8086"/>
                <a:gd name="T3" fmla="*/ 4119 h 4239"/>
                <a:gd name="T4" fmla="*/ 271 w 8086"/>
                <a:gd name="T5" fmla="*/ 4196 h 4239"/>
                <a:gd name="T6" fmla="*/ 7966 w 8086"/>
                <a:gd name="T7" fmla="*/ 348 h 4239"/>
                <a:gd name="T8" fmla="*/ 7966 w 8086"/>
                <a:gd name="T9" fmla="*/ 348 h 4239"/>
                <a:gd name="T10" fmla="*/ 8042 w 8086"/>
                <a:gd name="T11" fmla="*/ 119 h 4239"/>
                <a:gd name="T12" fmla="*/ 8042 w 8086"/>
                <a:gd name="T13" fmla="*/ 119 h 4239"/>
                <a:gd name="T14" fmla="*/ 7813 w 8086"/>
                <a:gd name="T15" fmla="*/ 42 h 4239"/>
                <a:gd name="T16" fmla="*/ 119 w 8086"/>
                <a:gd name="T17" fmla="*/ 3891 h 4239"/>
                <a:gd name="T18" fmla="*/ 119 w 8086"/>
                <a:gd name="T19" fmla="*/ 3891 h 4239"/>
                <a:gd name="T20" fmla="*/ 42 w 8086"/>
                <a:gd name="T21" fmla="*/ 4119 h 4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086" h="4239">
                  <a:moveTo>
                    <a:pt x="42" y="4119"/>
                  </a:moveTo>
                  <a:lnTo>
                    <a:pt x="42" y="4119"/>
                  </a:lnTo>
                  <a:cubicBezTo>
                    <a:pt x="85" y="4204"/>
                    <a:pt x="187" y="4238"/>
                    <a:pt x="271" y="4196"/>
                  </a:cubicBezTo>
                  <a:lnTo>
                    <a:pt x="7966" y="348"/>
                  </a:lnTo>
                  <a:lnTo>
                    <a:pt x="7966" y="348"/>
                  </a:lnTo>
                  <a:cubicBezTo>
                    <a:pt x="8050" y="305"/>
                    <a:pt x="8085" y="203"/>
                    <a:pt x="8042" y="119"/>
                  </a:cubicBezTo>
                  <a:lnTo>
                    <a:pt x="8042" y="119"/>
                  </a:lnTo>
                  <a:cubicBezTo>
                    <a:pt x="8000" y="34"/>
                    <a:pt x="7898" y="0"/>
                    <a:pt x="7813" y="42"/>
                  </a:cubicBezTo>
                  <a:lnTo>
                    <a:pt x="119" y="3891"/>
                  </a:lnTo>
                  <a:lnTo>
                    <a:pt x="119" y="3891"/>
                  </a:lnTo>
                  <a:cubicBezTo>
                    <a:pt x="34" y="3933"/>
                    <a:pt x="0" y="4035"/>
                    <a:pt x="42" y="4119"/>
                  </a:cubicBezTo>
                </a:path>
              </a:pathLst>
            </a:custGeom>
            <a:solidFill>
              <a:schemeClr val="accent5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s-ES_tradnl"/>
            </a:p>
          </p:txBody>
        </p:sp>
        <p:sp>
          <p:nvSpPr>
            <p:cNvPr id="27" name="Freeform 47">
              <a:extLst>
                <a:ext uri="{FF2B5EF4-FFF2-40B4-BE49-F238E27FC236}">
                  <a16:creationId xmlns:a16="http://schemas.microsoft.com/office/drawing/2014/main" xmlns="" id="{34C26340-52A9-433F-BFEA-355D3ADF1871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11369540">
              <a:off x="5450840" y="6868223"/>
              <a:ext cx="753122" cy="518002"/>
            </a:xfrm>
            <a:custGeom>
              <a:avLst/>
              <a:gdLst>
                <a:gd name="T0" fmla="*/ 42 w 1033"/>
                <a:gd name="T1" fmla="*/ 593 h 713"/>
                <a:gd name="T2" fmla="*/ 42 w 1033"/>
                <a:gd name="T3" fmla="*/ 593 h 713"/>
                <a:gd name="T4" fmla="*/ 272 w 1033"/>
                <a:gd name="T5" fmla="*/ 669 h 713"/>
                <a:gd name="T6" fmla="*/ 913 w 1033"/>
                <a:gd name="T7" fmla="*/ 349 h 713"/>
                <a:gd name="T8" fmla="*/ 913 w 1033"/>
                <a:gd name="T9" fmla="*/ 349 h 713"/>
                <a:gd name="T10" fmla="*/ 989 w 1033"/>
                <a:gd name="T11" fmla="*/ 120 h 713"/>
                <a:gd name="T12" fmla="*/ 989 w 1033"/>
                <a:gd name="T13" fmla="*/ 120 h 713"/>
                <a:gd name="T14" fmla="*/ 760 w 1033"/>
                <a:gd name="T15" fmla="*/ 43 h 713"/>
                <a:gd name="T16" fmla="*/ 119 w 1033"/>
                <a:gd name="T17" fmla="*/ 363 h 713"/>
                <a:gd name="T18" fmla="*/ 119 w 1033"/>
                <a:gd name="T19" fmla="*/ 363 h 713"/>
                <a:gd name="T20" fmla="*/ 42 w 1033"/>
                <a:gd name="T21" fmla="*/ 593 h 7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033" h="713">
                  <a:moveTo>
                    <a:pt x="42" y="593"/>
                  </a:moveTo>
                  <a:lnTo>
                    <a:pt x="42" y="593"/>
                  </a:lnTo>
                  <a:cubicBezTo>
                    <a:pt x="84" y="678"/>
                    <a:pt x="187" y="712"/>
                    <a:pt x="272" y="669"/>
                  </a:cubicBezTo>
                  <a:lnTo>
                    <a:pt x="913" y="349"/>
                  </a:lnTo>
                  <a:lnTo>
                    <a:pt x="913" y="349"/>
                  </a:lnTo>
                  <a:cubicBezTo>
                    <a:pt x="997" y="306"/>
                    <a:pt x="1032" y="204"/>
                    <a:pt x="989" y="120"/>
                  </a:cubicBezTo>
                  <a:lnTo>
                    <a:pt x="989" y="120"/>
                  </a:lnTo>
                  <a:cubicBezTo>
                    <a:pt x="947" y="35"/>
                    <a:pt x="844" y="0"/>
                    <a:pt x="760" y="43"/>
                  </a:cubicBezTo>
                  <a:lnTo>
                    <a:pt x="119" y="363"/>
                  </a:lnTo>
                  <a:lnTo>
                    <a:pt x="119" y="363"/>
                  </a:lnTo>
                  <a:cubicBezTo>
                    <a:pt x="34" y="406"/>
                    <a:pt x="0" y="508"/>
                    <a:pt x="42" y="593"/>
                  </a:cubicBezTo>
                </a:path>
              </a:pathLst>
            </a:custGeom>
            <a:solidFill>
              <a:schemeClr val="accent5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s-ES_tradnl"/>
            </a:p>
          </p:txBody>
        </p:sp>
        <p:sp>
          <p:nvSpPr>
            <p:cNvPr id="28" name="Freeform 48">
              <a:extLst>
                <a:ext uri="{FF2B5EF4-FFF2-40B4-BE49-F238E27FC236}">
                  <a16:creationId xmlns:a16="http://schemas.microsoft.com/office/drawing/2014/main" xmlns="" id="{CC5922FE-68A0-422A-B438-8053520AF2FD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11369540">
              <a:off x="-1269817" y="9108201"/>
              <a:ext cx="286442" cy="284581"/>
            </a:xfrm>
            <a:custGeom>
              <a:avLst/>
              <a:gdLst>
                <a:gd name="T0" fmla="*/ 42 w 391"/>
                <a:gd name="T1" fmla="*/ 272 h 392"/>
                <a:gd name="T2" fmla="*/ 42 w 391"/>
                <a:gd name="T3" fmla="*/ 272 h 392"/>
                <a:gd name="T4" fmla="*/ 272 w 391"/>
                <a:gd name="T5" fmla="*/ 349 h 392"/>
                <a:gd name="T6" fmla="*/ 272 w 391"/>
                <a:gd name="T7" fmla="*/ 349 h 392"/>
                <a:gd name="T8" fmla="*/ 348 w 391"/>
                <a:gd name="T9" fmla="*/ 119 h 392"/>
                <a:gd name="T10" fmla="*/ 348 w 391"/>
                <a:gd name="T11" fmla="*/ 119 h 392"/>
                <a:gd name="T12" fmla="*/ 118 w 391"/>
                <a:gd name="T13" fmla="*/ 43 h 392"/>
                <a:gd name="T14" fmla="*/ 118 w 391"/>
                <a:gd name="T15" fmla="*/ 43 h 392"/>
                <a:gd name="T16" fmla="*/ 42 w 391"/>
                <a:gd name="T17" fmla="*/ 272 h 3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91" h="392">
                  <a:moveTo>
                    <a:pt x="42" y="272"/>
                  </a:moveTo>
                  <a:lnTo>
                    <a:pt x="42" y="272"/>
                  </a:lnTo>
                  <a:cubicBezTo>
                    <a:pt x="84" y="357"/>
                    <a:pt x="187" y="391"/>
                    <a:pt x="272" y="349"/>
                  </a:cubicBezTo>
                  <a:lnTo>
                    <a:pt x="272" y="349"/>
                  </a:lnTo>
                  <a:cubicBezTo>
                    <a:pt x="356" y="306"/>
                    <a:pt x="390" y="203"/>
                    <a:pt x="348" y="119"/>
                  </a:cubicBezTo>
                  <a:lnTo>
                    <a:pt x="348" y="119"/>
                  </a:lnTo>
                  <a:cubicBezTo>
                    <a:pt x="306" y="35"/>
                    <a:pt x="203" y="0"/>
                    <a:pt x="118" y="43"/>
                  </a:cubicBezTo>
                  <a:lnTo>
                    <a:pt x="118" y="43"/>
                  </a:lnTo>
                  <a:cubicBezTo>
                    <a:pt x="34" y="85"/>
                    <a:pt x="0" y="188"/>
                    <a:pt x="42" y="272"/>
                  </a:cubicBezTo>
                </a:path>
              </a:pathLst>
            </a:custGeom>
            <a:solidFill>
              <a:schemeClr val="accent5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s-ES_tradnl"/>
            </a:p>
          </p:txBody>
        </p:sp>
        <p:sp>
          <p:nvSpPr>
            <p:cNvPr id="29" name="Freeform 49">
              <a:extLst>
                <a:ext uri="{FF2B5EF4-FFF2-40B4-BE49-F238E27FC236}">
                  <a16:creationId xmlns:a16="http://schemas.microsoft.com/office/drawing/2014/main" xmlns="" id="{D3EA94F6-7F64-4E29-924E-6DABE743CEAE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11369540">
              <a:off x="-517326" y="5651286"/>
              <a:ext cx="5139894" cy="2695531"/>
            </a:xfrm>
            <a:custGeom>
              <a:avLst/>
              <a:gdLst>
                <a:gd name="T0" fmla="*/ 42 w 7042"/>
                <a:gd name="T1" fmla="*/ 3597 h 3717"/>
                <a:gd name="T2" fmla="*/ 42 w 7042"/>
                <a:gd name="T3" fmla="*/ 3597 h 3717"/>
                <a:gd name="T4" fmla="*/ 272 w 7042"/>
                <a:gd name="T5" fmla="*/ 3674 h 3717"/>
                <a:gd name="T6" fmla="*/ 6922 w 7042"/>
                <a:gd name="T7" fmla="*/ 348 h 3717"/>
                <a:gd name="T8" fmla="*/ 6922 w 7042"/>
                <a:gd name="T9" fmla="*/ 348 h 3717"/>
                <a:gd name="T10" fmla="*/ 6998 w 7042"/>
                <a:gd name="T11" fmla="*/ 118 h 3717"/>
                <a:gd name="T12" fmla="*/ 6998 w 7042"/>
                <a:gd name="T13" fmla="*/ 118 h 3717"/>
                <a:gd name="T14" fmla="*/ 6770 w 7042"/>
                <a:gd name="T15" fmla="*/ 42 h 3717"/>
                <a:gd name="T16" fmla="*/ 119 w 7042"/>
                <a:gd name="T17" fmla="*/ 3368 h 3717"/>
                <a:gd name="T18" fmla="*/ 119 w 7042"/>
                <a:gd name="T19" fmla="*/ 3368 h 3717"/>
                <a:gd name="T20" fmla="*/ 42 w 7042"/>
                <a:gd name="T21" fmla="*/ 3597 h 37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042" h="3717">
                  <a:moveTo>
                    <a:pt x="42" y="3597"/>
                  </a:moveTo>
                  <a:lnTo>
                    <a:pt x="42" y="3597"/>
                  </a:lnTo>
                  <a:cubicBezTo>
                    <a:pt x="84" y="3682"/>
                    <a:pt x="187" y="3716"/>
                    <a:pt x="272" y="3674"/>
                  </a:cubicBezTo>
                  <a:lnTo>
                    <a:pt x="6922" y="348"/>
                  </a:lnTo>
                  <a:lnTo>
                    <a:pt x="6922" y="348"/>
                  </a:lnTo>
                  <a:cubicBezTo>
                    <a:pt x="7007" y="305"/>
                    <a:pt x="7041" y="203"/>
                    <a:pt x="6998" y="118"/>
                  </a:cubicBezTo>
                  <a:lnTo>
                    <a:pt x="6998" y="118"/>
                  </a:lnTo>
                  <a:cubicBezTo>
                    <a:pt x="6957" y="33"/>
                    <a:pt x="6854" y="0"/>
                    <a:pt x="6770" y="42"/>
                  </a:cubicBezTo>
                  <a:lnTo>
                    <a:pt x="119" y="3368"/>
                  </a:lnTo>
                  <a:lnTo>
                    <a:pt x="119" y="3368"/>
                  </a:lnTo>
                  <a:cubicBezTo>
                    <a:pt x="34" y="3410"/>
                    <a:pt x="0" y="3513"/>
                    <a:pt x="42" y="3597"/>
                  </a:cubicBezTo>
                </a:path>
              </a:pathLst>
            </a:custGeom>
            <a:solidFill>
              <a:schemeClr val="accent4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s-ES_tradnl"/>
            </a:p>
          </p:txBody>
        </p:sp>
        <p:sp>
          <p:nvSpPr>
            <p:cNvPr id="30" name="Freeform 50">
              <a:extLst>
                <a:ext uri="{FF2B5EF4-FFF2-40B4-BE49-F238E27FC236}">
                  <a16:creationId xmlns:a16="http://schemas.microsoft.com/office/drawing/2014/main" xmlns="" id="{28B6B618-7049-4130-92F8-50AF6EE5258A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11369540">
              <a:off x="4878885" y="5818248"/>
              <a:ext cx="617946" cy="450853"/>
            </a:xfrm>
            <a:custGeom>
              <a:avLst/>
              <a:gdLst>
                <a:gd name="T0" fmla="*/ 42 w 848"/>
                <a:gd name="T1" fmla="*/ 501 h 620"/>
                <a:gd name="T2" fmla="*/ 42 w 848"/>
                <a:gd name="T3" fmla="*/ 501 h 620"/>
                <a:gd name="T4" fmla="*/ 271 w 848"/>
                <a:gd name="T5" fmla="*/ 577 h 620"/>
                <a:gd name="T6" fmla="*/ 728 w 848"/>
                <a:gd name="T7" fmla="*/ 348 h 620"/>
                <a:gd name="T8" fmla="*/ 728 w 848"/>
                <a:gd name="T9" fmla="*/ 348 h 620"/>
                <a:gd name="T10" fmla="*/ 805 w 848"/>
                <a:gd name="T11" fmla="*/ 119 h 620"/>
                <a:gd name="T12" fmla="*/ 805 w 848"/>
                <a:gd name="T13" fmla="*/ 119 h 620"/>
                <a:gd name="T14" fmla="*/ 576 w 848"/>
                <a:gd name="T15" fmla="*/ 43 h 620"/>
                <a:gd name="T16" fmla="*/ 119 w 848"/>
                <a:gd name="T17" fmla="*/ 272 h 620"/>
                <a:gd name="T18" fmla="*/ 119 w 848"/>
                <a:gd name="T19" fmla="*/ 272 h 620"/>
                <a:gd name="T20" fmla="*/ 42 w 848"/>
                <a:gd name="T21" fmla="*/ 501 h 6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48" h="620">
                  <a:moveTo>
                    <a:pt x="42" y="501"/>
                  </a:moveTo>
                  <a:lnTo>
                    <a:pt x="42" y="501"/>
                  </a:lnTo>
                  <a:cubicBezTo>
                    <a:pt x="84" y="585"/>
                    <a:pt x="186" y="619"/>
                    <a:pt x="271" y="577"/>
                  </a:cubicBezTo>
                  <a:lnTo>
                    <a:pt x="728" y="348"/>
                  </a:lnTo>
                  <a:lnTo>
                    <a:pt x="728" y="348"/>
                  </a:lnTo>
                  <a:cubicBezTo>
                    <a:pt x="813" y="306"/>
                    <a:pt x="847" y="204"/>
                    <a:pt x="805" y="119"/>
                  </a:cubicBezTo>
                  <a:lnTo>
                    <a:pt x="805" y="119"/>
                  </a:lnTo>
                  <a:cubicBezTo>
                    <a:pt x="762" y="34"/>
                    <a:pt x="660" y="0"/>
                    <a:pt x="576" y="43"/>
                  </a:cubicBezTo>
                  <a:lnTo>
                    <a:pt x="119" y="272"/>
                  </a:lnTo>
                  <a:lnTo>
                    <a:pt x="119" y="272"/>
                  </a:lnTo>
                  <a:cubicBezTo>
                    <a:pt x="34" y="313"/>
                    <a:pt x="0" y="416"/>
                    <a:pt x="42" y="501"/>
                  </a:cubicBezTo>
                </a:path>
              </a:pathLst>
            </a:custGeom>
            <a:solidFill>
              <a:schemeClr val="accent4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s-ES_tradnl"/>
            </a:p>
          </p:txBody>
        </p:sp>
        <p:sp>
          <p:nvSpPr>
            <p:cNvPr id="31" name="Freeform 51">
              <a:extLst>
                <a:ext uri="{FF2B5EF4-FFF2-40B4-BE49-F238E27FC236}">
                  <a16:creationId xmlns:a16="http://schemas.microsoft.com/office/drawing/2014/main" xmlns="" id="{C5C6A366-332A-4561-8519-C496F232D5A3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11369540">
              <a:off x="6324691" y="6684569"/>
              <a:ext cx="553576" cy="415681"/>
            </a:xfrm>
            <a:custGeom>
              <a:avLst/>
              <a:gdLst>
                <a:gd name="T0" fmla="*/ 42 w 757"/>
                <a:gd name="T1" fmla="*/ 455 h 575"/>
                <a:gd name="T2" fmla="*/ 42 w 757"/>
                <a:gd name="T3" fmla="*/ 455 h 575"/>
                <a:gd name="T4" fmla="*/ 272 w 757"/>
                <a:gd name="T5" fmla="*/ 531 h 575"/>
                <a:gd name="T6" fmla="*/ 637 w 757"/>
                <a:gd name="T7" fmla="*/ 349 h 575"/>
                <a:gd name="T8" fmla="*/ 637 w 757"/>
                <a:gd name="T9" fmla="*/ 349 h 575"/>
                <a:gd name="T10" fmla="*/ 714 w 757"/>
                <a:gd name="T11" fmla="*/ 119 h 575"/>
                <a:gd name="T12" fmla="*/ 714 w 757"/>
                <a:gd name="T13" fmla="*/ 119 h 575"/>
                <a:gd name="T14" fmla="*/ 485 w 757"/>
                <a:gd name="T15" fmla="*/ 43 h 575"/>
                <a:gd name="T16" fmla="*/ 118 w 757"/>
                <a:gd name="T17" fmla="*/ 226 h 575"/>
                <a:gd name="T18" fmla="*/ 118 w 757"/>
                <a:gd name="T19" fmla="*/ 226 h 575"/>
                <a:gd name="T20" fmla="*/ 42 w 757"/>
                <a:gd name="T21" fmla="*/ 455 h 5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57" h="575">
                  <a:moveTo>
                    <a:pt x="42" y="455"/>
                  </a:moveTo>
                  <a:lnTo>
                    <a:pt x="42" y="455"/>
                  </a:lnTo>
                  <a:cubicBezTo>
                    <a:pt x="84" y="540"/>
                    <a:pt x="187" y="574"/>
                    <a:pt x="272" y="531"/>
                  </a:cubicBezTo>
                  <a:lnTo>
                    <a:pt x="637" y="349"/>
                  </a:lnTo>
                  <a:lnTo>
                    <a:pt x="637" y="349"/>
                  </a:lnTo>
                  <a:cubicBezTo>
                    <a:pt x="722" y="306"/>
                    <a:pt x="756" y="204"/>
                    <a:pt x="714" y="119"/>
                  </a:cubicBezTo>
                  <a:lnTo>
                    <a:pt x="714" y="119"/>
                  </a:lnTo>
                  <a:cubicBezTo>
                    <a:pt x="671" y="35"/>
                    <a:pt x="569" y="0"/>
                    <a:pt x="485" y="43"/>
                  </a:cubicBezTo>
                  <a:lnTo>
                    <a:pt x="118" y="226"/>
                  </a:lnTo>
                  <a:lnTo>
                    <a:pt x="118" y="226"/>
                  </a:lnTo>
                  <a:cubicBezTo>
                    <a:pt x="34" y="268"/>
                    <a:pt x="0" y="370"/>
                    <a:pt x="42" y="455"/>
                  </a:cubicBezTo>
                </a:path>
              </a:pathLst>
            </a:custGeom>
            <a:solidFill>
              <a:schemeClr val="accent5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s-ES_tradnl"/>
            </a:p>
          </p:txBody>
        </p:sp>
        <p:sp>
          <p:nvSpPr>
            <p:cNvPr id="32" name="Freeform 52">
              <a:extLst>
                <a:ext uri="{FF2B5EF4-FFF2-40B4-BE49-F238E27FC236}">
                  <a16:creationId xmlns:a16="http://schemas.microsoft.com/office/drawing/2014/main" xmlns="" id="{5958B795-C133-44D2-934D-FB72E71EAABF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11369540">
              <a:off x="-637625" y="5261733"/>
              <a:ext cx="5139895" cy="2695531"/>
            </a:xfrm>
            <a:custGeom>
              <a:avLst/>
              <a:gdLst>
                <a:gd name="T0" fmla="*/ 41 w 7042"/>
                <a:gd name="T1" fmla="*/ 3598 h 3718"/>
                <a:gd name="T2" fmla="*/ 41 w 7042"/>
                <a:gd name="T3" fmla="*/ 3598 h 3718"/>
                <a:gd name="T4" fmla="*/ 271 w 7042"/>
                <a:gd name="T5" fmla="*/ 3674 h 3718"/>
                <a:gd name="T6" fmla="*/ 6922 w 7042"/>
                <a:gd name="T7" fmla="*/ 349 h 3718"/>
                <a:gd name="T8" fmla="*/ 6922 w 7042"/>
                <a:gd name="T9" fmla="*/ 349 h 3718"/>
                <a:gd name="T10" fmla="*/ 6998 w 7042"/>
                <a:gd name="T11" fmla="*/ 119 h 3718"/>
                <a:gd name="T12" fmla="*/ 6998 w 7042"/>
                <a:gd name="T13" fmla="*/ 119 h 3718"/>
                <a:gd name="T14" fmla="*/ 6769 w 7042"/>
                <a:gd name="T15" fmla="*/ 43 h 3718"/>
                <a:gd name="T16" fmla="*/ 118 w 7042"/>
                <a:gd name="T17" fmla="*/ 3369 h 3718"/>
                <a:gd name="T18" fmla="*/ 118 w 7042"/>
                <a:gd name="T19" fmla="*/ 3369 h 3718"/>
                <a:gd name="T20" fmla="*/ 41 w 7042"/>
                <a:gd name="T21" fmla="*/ 3598 h 37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042" h="3718">
                  <a:moveTo>
                    <a:pt x="41" y="3598"/>
                  </a:moveTo>
                  <a:lnTo>
                    <a:pt x="41" y="3598"/>
                  </a:lnTo>
                  <a:cubicBezTo>
                    <a:pt x="83" y="3683"/>
                    <a:pt x="186" y="3717"/>
                    <a:pt x="271" y="3674"/>
                  </a:cubicBezTo>
                  <a:lnTo>
                    <a:pt x="6922" y="349"/>
                  </a:lnTo>
                  <a:lnTo>
                    <a:pt x="6922" y="349"/>
                  </a:lnTo>
                  <a:cubicBezTo>
                    <a:pt x="7006" y="306"/>
                    <a:pt x="7041" y="204"/>
                    <a:pt x="6998" y="119"/>
                  </a:cubicBezTo>
                  <a:lnTo>
                    <a:pt x="6998" y="119"/>
                  </a:lnTo>
                  <a:cubicBezTo>
                    <a:pt x="6956" y="35"/>
                    <a:pt x="6854" y="0"/>
                    <a:pt x="6769" y="43"/>
                  </a:cubicBezTo>
                  <a:lnTo>
                    <a:pt x="118" y="3369"/>
                  </a:lnTo>
                  <a:lnTo>
                    <a:pt x="118" y="3369"/>
                  </a:lnTo>
                  <a:cubicBezTo>
                    <a:pt x="34" y="3411"/>
                    <a:pt x="0" y="3514"/>
                    <a:pt x="41" y="3598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s-ES_tradnl"/>
            </a:p>
          </p:txBody>
        </p:sp>
        <p:sp>
          <p:nvSpPr>
            <p:cNvPr id="33" name="Freeform 53">
              <a:extLst>
                <a:ext uri="{FF2B5EF4-FFF2-40B4-BE49-F238E27FC236}">
                  <a16:creationId xmlns:a16="http://schemas.microsoft.com/office/drawing/2014/main" xmlns="" id="{F7B3B2C4-D5DE-47B5-A265-44F300224FFF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11369540">
              <a:off x="-1740319" y="6146629"/>
              <a:ext cx="5902672" cy="3076040"/>
            </a:xfrm>
            <a:custGeom>
              <a:avLst/>
              <a:gdLst>
                <a:gd name="T0" fmla="*/ 42 w 8086"/>
                <a:gd name="T1" fmla="*/ 4120 h 4240"/>
                <a:gd name="T2" fmla="*/ 42 w 8086"/>
                <a:gd name="T3" fmla="*/ 4120 h 4240"/>
                <a:gd name="T4" fmla="*/ 272 w 8086"/>
                <a:gd name="T5" fmla="*/ 4197 h 4240"/>
                <a:gd name="T6" fmla="*/ 7967 w 8086"/>
                <a:gd name="T7" fmla="*/ 349 h 4240"/>
                <a:gd name="T8" fmla="*/ 7967 w 8086"/>
                <a:gd name="T9" fmla="*/ 349 h 4240"/>
                <a:gd name="T10" fmla="*/ 8043 w 8086"/>
                <a:gd name="T11" fmla="*/ 119 h 4240"/>
                <a:gd name="T12" fmla="*/ 8043 w 8086"/>
                <a:gd name="T13" fmla="*/ 119 h 4240"/>
                <a:gd name="T14" fmla="*/ 7814 w 8086"/>
                <a:gd name="T15" fmla="*/ 43 h 4240"/>
                <a:gd name="T16" fmla="*/ 118 w 8086"/>
                <a:gd name="T17" fmla="*/ 3891 h 4240"/>
                <a:gd name="T18" fmla="*/ 118 w 8086"/>
                <a:gd name="T19" fmla="*/ 3891 h 4240"/>
                <a:gd name="T20" fmla="*/ 42 w 8086"/>
                <a:gd name="T21" fmla="*/ 4120 h 42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086" h="4240">
                  <a:moveTo>
                    <a:pt x="42" y="4120"/>
                  </a:moveTo>
                  <a:lnTo>
                    <a:pt x="42" y="4120"/>
                  </a:lnTo>
                  <a:cubicBezTo>
                    <a:pt x="84" y="4205"/>
                    <a:pt x="187" y="4239"/>
                    <a:pt x="272" y="4197"/>
                  </a:cubicBezTo>
                  <a:lnTo>
                    <a:pt x="7967" y="349"/>
                  </a:lnTo>
                  <a:lnTo>
                    <a:pt x="7967" y="349"/>
                  </a:lnTo>
                  <a:cubicBezTo>
                    <a:pt x="8051" y="307"/>
                    <a:pt x="8085" y="204"/>
                    <a:pt x="8043" y="119"/>
                  </a:cubicBezTo>
                  <a:lnTo>
                    <a:pt x="8043" y="119"/>
                  </a:lnTo>
                  <a:cubicBezTo>
                    <a:pt x="8001" y="35"/>
                    <a:pt x="7899" y="0"/>
                    <a:pt x="7814" y="43"/>
                  </a:cubicBezTo>
                  <a:lnTo>
                    <a:pt x="118" y="3891"/>
                  </a:lnTo>
                  <a:lnTo>
                    <a:pt x="118" y="3891"/>
                  </a:lnTo>
                  <a:cubicBezTo>
                    <a:pt x="34" y="3933"/>
                    <a:pt x="0" y="4036"/>
                    <a:pt x="42" y="4120"/>
                  </a:cubicBezTo>
                </a:path>
              </a:pathLst>
            </a:custGeom>
            <a:solidFill>
              <a:schemeClr val="accent2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s-ES_tradnl"/>
            </a:p>
          </p:txBody>
        </p:sp>
        <p:sp>
          <p:nvSpPr>
            <p:cNvPr id="34" name="Freeform 54">
              <a:extLst>
                <a:ext uri="{FF2B5EF4-FFF2-40B4-BE49-F238E27FC236}">
                  <a16:creationId xmlns:a16="http://schemas.microsoft.com/office/drawing/2014/main" xmlns="" id="{E08B3F7E-7F8E-47FE-97B3-A695BC33326B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11369540">
              <a:off x="4438694" y="6377756"/>
              <a:ext cx="621163" cy="450856"/>
            </a:xfrm>
            <a:custGeom>
              <a:avLst/>
              <a:gdLst>
                <a:gd name="T0" fmla="*/ 43 w 849"/>
                <a:gd name="T1" fmla="*/ 501 h 620"/>
                <a:gd name="T2" fmla="*/ 43 w 849"/>
                <a:gd name="T3" fmla="*/ 501 h 620"/>
                <a:gd name="T4" fmla="*/ 271 w 849"/>
                <a:gd name="T5" fmla="*/ 577 h 620"/>
                <a:gd name="T6" fmla="*/ 730 w 849"/>
                <a:gd name="T7" fmla="*/ 348 h 620"/>
                <a:gd name="T8" fmla="*/ 730 w 849"/>
                <a:gd name="T9" fmla="*/ 348 h 620"/>
                <a:gd name="T10" fmla="*/ 806 w 849"/>
                <a:gd name="T11" fmla="*/ 119 h 620"/>
                <a:gd name="T12" fmla="*/ 806 w 849"/>
                <a:gd name="T13" fmla="*/ 119 h 620"/>
                <a:gd name="T14" fmla="*/ 577 w 849"/>
                <a:gd name="T15" fmla="*/ 43 h 620"/>
                <a:gd name="T16" fmla="*/ 119 w 849"/>
                <a:gd name="T17" fmla="*/ 272 h 620"/>
                <a:gd name="T18" fmla="*/ 119 w 849"/>
                <a:gd name="T19" fmla="*/ 272 h 620"/>
                <a:gd name="T20" fmla="*/ 43 w 849"/>
                <a:gd name="T21" fmla="*/ 501 h 6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49" h="620">
                  <a:moveTo>
                    <a:pt x="43" y="501"/>
                  </a:moveTo>
                  <a:lnTo>
                    <a:pt x="43" y="501"/>
                  </a:lnTo>
                  <a:cubicBezTo>
                    <a:pt x="85" y="586"/>
                    <a:pt x="187" y="619"/>
                    <a:pt x="271" y="577"/>
                  </a:cubicBezTo>
                  <a:lnTo>
                    <a:pt x="730" y="348"/>
                  </a:lnTo>
                  <a:lnTo>
                    <a:pt x="730" y="348"/>
                  </a:lnTo>
                  <a:cubicBezTo>
                    <a:pt x="814" y="306"/>
                    <a:pt x="848" y="204"/>
                    <a:pt x="806" y="119"/>
                  </a:cubicBezTo>
                  <a:lnTo>
                    <a:pt x="806" y="119"/>
                  </a:lnTo>
                  <a:cubicBezTo>
                    <a:pt x="764" y="35"/>
                    <a:pt x="661" y="0"/>
                    <a:pt x="577" y="43"/>
                  </a:cubicBezTo>
                  <a:lnTo>
                    <a:pt x="119" y="272"/>
                  </a:lnTo>
                  <a:lnTo>
                    <a:pt x="119" y="272"/>
                  </a:lnTo>
                  <a:cubicBezTo>
                    <a:pt x="34" y="314"/>
                    <a:pt x="0" y="416"/>
                    <a:pt x="43" y="501"/>
                  </a:cubicBezTo>
                </a:path>
              </a:pathLst>
            </a:custGeom>
            <a:solidFill>
              <a:schemeClr val="accent2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s-ES_tradnl"/>
            </a:p>
          </p:txBody>
        </p:sp>
        <p:sp>
          <p:nvSpPr>
            <p:cNvPr id="35" name="Freeform 55">
              <a:extLst>
                <a:ext uri="{FF2B5EF4-FFF2-40B4-BE49-F238E27FC236}">
                  <a16:creationId xmlns:a16="http://schemas.microsoft.com/office/drawing/2014/main" xmlns="" id="{FD4554B6-A6D2-4C8C-8532-95EF890ABBF0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11369540">
              <a:off x="5173424" y="6288835"/>
              <a:ext cx="283226" cy="284583"/>
            </a:xfrm>
            <a:custGeom>
              <a:avLst/>
              <a:gdLst>
                <a:gd name="T0" fmla="*/ 42 w 390"/>
                <a:gd name="T1" fmla="*/ 271 h 391"/>
                <a:gd name="T2" fmla="*/ 42 w 390"/>
                <a:gd name="T3" fmla="*/ 271 h 391"/>
                <a:gd name="T4" fmla="*/ 270 w 390"/>
                <a:gd name="T5" fmla="*/ 348 h 391"/>
                <a:gd name="T6" fmla="*/ 270 w 390"/>
                <a:gd name="T7" fmla="*/ 348 h 391"/>
                <a:gd name="T8" fmla="*/ 347 w 390"/>
                <a:gd name="T9" fmla="*/ 119 h 391"/>
                <a:gd name="T10" fmla="*/ 347 w 390"/>
                <a:gd name="T11" fmla="*/ 119 h 391"/>
                <a:gd name="T12" fmla="*/ 118 w 390"/>
                <a:gd name="T13" fmla="*/ 42 h 391"/>
                <a:gd name="T14" fmla="*/ 118 w 390"/>
                <a:gd name="T15" fmla="*/ 42 h 391"/>
                <a:gd name="T16" fmla="*/ 42 w 390"/>
                <a:gd name="T17" fmla="*/ 271 h 3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90" h="391">
                  <a:moveTo>
                    <a:pt x="42" y="271"/>
                  </a:moveTo>
                  <a:lnTo>
                    <a:pt x="42" y="271"/>
                  </a:lnTo>
                  <a:cubicBezTo>
                    <a:pt x="84" y="356"/>
                    <a:pt x="187" y="390"/>
                    <a:pt x="270" y="348"/>
                  </a:cubicBezTo>
                  <a:lnTo>
                    <a:pt x="270" y="348"/>
                  </a:lnTo>
                  <a:cubicBezTo>
                    <a:pt x="355" y="306"/>
                    <a:pt x="389" y="203"/>
                    <a:pt x="347" y="119"/>
                  </a:cubicBezTo>
                  <a:lnTo>
                    <a:pt x="347" y="119"/>
                  </a:lnTo>
                  <a:cubicBezTo>
                    <a:pt x="305" y="34"/>
                    <a:pt x="202" y="0"/>
                    <a:pt x="118" y="42"/>
                  </a:cubicBezTo>
                  <a:lnTo>
                    <a:pt x="118" y="42"/>
                  </a:lnTo>
                  <a:cubicBezTo>
                    <a:pt x="34" y="84"/>
                    <a:pt x="0" y="187"/>
                    <a:pt x="42" y="271"/>
                  </a:cubicBezTo>
                </a:path>
              </a:pathLst>
            </a:custGeom>
            <a:solidFill>
              <a:schemeClr val="accent2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s-ES_tradnl"/>
            </a:p>
          </p:txBody>
        </p:sp>
        <p:sp>
          <p:nvSpPr>
            <p:cNvPr id="36" name="Freeform 56">
              <a:extLst>
                <a:ext uri="{FF2B5EF4-FFF2-40B4-BE49-F238E27FC236}">
                  <a16:creationId xmlns:a16="http://schemas.microsoft.com/office/drawing/2014/main" xmlns="" id="{1F134AA5-BEB5-44DD-870E-22E26015E4E3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11369540">
              <a:off x="-2277819" y="8564985"/>
              <a:ext cx="286444" cy="284581"/>
            </a:xfrm>
            <a:custGeom>
              <a:avLst/>
              <a:gdLst>
                <a:gd name="T0" fmla="*/ 43 w 392"/>
                <a:gd name="T1" fmla="*/ 272 h 391"/>
                <a:gd name="T2" fmla="*/ 43 w 392"/>
                <a:gd name="T3" fmla="*/ 272 h 391"/>
                <a:gd name="T4" fmla="*/ 272 w 392"/>
                <a:gd name="T5" fmla="*/ 348 h 391"/>
                <a:gd name="T6" fmla="*/ 272 w 392"/>
                <a:gd name="T7" fmla="*/ 348 h 391"/>
                <a:gd name="T8" fmla="*/ 349 w 392"/>
                <a:gd name="T9" fmla="*/ 119 h 391"/>
                <a:gd name="T10" fmla="*/ 349 w 392"/>
                <a:gd name="T11" fmla="*/ 119 h 391"/>
                <a:gd name="T12" fmla="*/ 119 w 392"/>
                <a:gd name="T13" fmla="*/ 43 h 391"/>
                <a:gd name="T14" fmla="*/ 119 w 392"/>
                <a:gd name="T15" fmla="*/ 43 h 391"/>
                <a:gd name="T16" fmla="*/ 43 w 392"/>
                <a:gd name="T17" fmla="*/ 272 h 3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92" h="391">
                  <a:moveTo>
                    <a:pt x="43" y="272"/>
                  </a:moveTo>
                  <a:lnTo>
                    <a:pt x="43" y="272"/>
                  </a:lnTo>
                  <a:cubicBezTo>
                    <a:pt x="85" y="356"/>
                    <a:pt x="188" y="390"/>
                    <a:pt x="272" y="348"/>
                  </a:cubicBezTo>
                  <a:lnTo>
                    <a:pt x="272" y="348"/>
                  </a:lnTo>
                  <a:cubicBezTo>
                    <a:pt x="356" y="306"/>
                    <a:pt x="391" y="204"/>
                    <a:pt x="349" y="119"/>
                  </a:cubicBezTo>
                  <a:lnTo>
                    <a:pt x="349" y="119"/>
                  </a:lnTo>
                  <a:cubicBezTo>
                    <a:pt x="306" y="34"/>
                    <a:pt x="204" y="0"/>
                    <a:pt x="119" y="43"/>
                  </a:cubicBezTo>
                  <a:lnTo>
                    <a:pt x="119" y="43"/>
                  </a:lnTo>
                  <a:cubicBezTo>
                    <a:pt x="35" y="85"/>
                    <a:pt x="0" y="187"/>
                    <a:pt x="43" y="272"/>
                  </a:cubicBezTo>
                </a:path>
              </a:pathLst>
            </a:custGeom>
            <a:solidFill>
              <a:schemeClr val="accent2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s-ES_tradnl"/>
            </a:p>
          </p:txBody>
        </p:sp>
        <p:sp>
          <p:nvSpPr>
            <p:cNvPr id="37" name="Freeform 45">
              <a:extLst>
                <a:ext uri="{FF2B5EF4-FFF2-40B4-BE49-F238E27FC236}">
                  <a16:creationId xmlns:a16="http://schemas.microsoft.com/office/drawing/2014/main" xmlns="" id="{7A1356C1-5224-42B0-9F61-ED954EAF2C89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11369540">
              <a:off x="7014175" y="6035122"/>
              <a:ext cx="1618891" cy="946474"/>
            </a:xfrm>
            <a:custGeom>
              <a:avLst/>
              <a:gdLst>
                <a:gd name="T0" fmla="*/ 2174 w 2217"/>
                <a:gd name="T1" fmla="*/ 119 h 1304"/>
                <a:gd name="T2" fmla="*/ 2174 w 2217"/>
                <a:gd name="T3" fmla="*/ 119 h 1304"/>
                <a:gd name="T4" fmla="*/ 1944 w 2217"/>
                <a:gd name="T5" fmla="*/ 42 h 1304"/>
                <a:gd name="T6" fmla="*/ 119 w 2217"/>
                <a:gd name="T7" fmla="*/ 956 h 1304"/>
                <a:gd name="T8" fmla="*/ 119 w 2217"/>
                <a:gd name="T9" fmla="*/ 956 h 1304"/>
                <a:gd name="T10" fmla="*/ 42 w 2217"/>
                <a:gd name="T11" fmla="*/ 1185 h 1304"/>
                <a:gd name="T12" fmla="*/ 42 w 2217"/>
                <a:gd name="T13" fmla="*/ 1185 h 1304"/>
                <a:gd name="T14" fmla="*/ 271 w 2217"/>
                <a:gd name="T15" fmla="*/ 1262 h 1304"/>
                <a:gd name="T16" fmla="*/ 2098 w 2217"/>
                <a:gd name="T17" fmla="*/ 348 h 1304"/>
                <a:gd name="T18" fmla="*/ 2098 w 2217"/>
                <a:gd name="T19" fmla="*/ 348 h 1304"/>
                <a:gd name="T20" fmla="*/ 2174 w 2217"/>
                <a:gd name="T21" fmla="*/ 119 h 13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217" h="1304">
                  <a:moveTo>
                    <a:pt x="2174" y="119"/>
                  </a:moveTo>
                  <a:lnTo>
                    <a:pt x="2174" y="119"/>
                  </a:lnTo>
                  <a:cubicBezTo>
                    <a:pt x="2132" y="34"/>
                    <a:pt x="2029" y="0"/>
                    <a:pt x="1944" y="42"/>
                  </a:cubicBezTo>
                  <a:lnTo>
                    <a:pt x="119" y="956"/>
                  </a:lnTo>
                  <a:lnTo>
                    <a:pt x="119" y="956"/>
                  </a:lnTo>
                  <a:cubicBezTo>
                    <a:pt x="34" y="998"/>
                    <a:pt x="0" y="1101"/>
                    <a:pt x="42" y="1185"/>
                  </a:cubicBezTo>
                  <a:lnTo>
                    <a:pt x="42" y="1185"/>
                  </a:lnTo>
                  <a:cubicBezTo>
                    <a:pt x="84" y="1269"/>
                    <a:pt x="187" y="1303"/>
                    <a:pt x="271" y="1262"/>
                  </a:cubicBezTo>
                  <a:lnTo>
                    <a:pt x="2098" y="348"/>
                  </a:lnTo>
                  <a:lnTo>
                    <a:pt x="2098" y="348"/>
                  </a:lnTo>
                  <a:cubicBezTo>
                    <a:pt x="2182" y="306"/>
                    <a:pt x="2216" y="203"/>
                    <a:pt x="2174" y="119"/>
                  </a:cubicBezTo>
                </a:path>
              </a:pathLst>
            </a:custGeom>
            <a:solidFill>
              <a:schemeClr val="accent5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s-ES_tradnl"/>
            </a:p>
          </p:txBody>
        </p:sp>
        <p:sp>
          <p:nvSpPr>
            <p:cNvPr id="38" name="Freeform 31">
              <a:extLst>
                <a:ext uri="{FF2B5EF4-FFF2-40B4-BE49-F238E27FC236}">
                  <a16:creationId xmlns:a16="http://schemas.microsoft.com/office/drawing/2014/main" xmlns="" id="{758510F2-B864-46A6-849D-8ED4B7CF738D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11369540">
              <a:off x="73104" y="5622045"/>
              <a:ext cx="1618891" cy="946474"/>
            </a:xfrm>
            <a:custGeom>
              <a:avLst/>
              <a:gdLst>
                <a:gd name="T0" fmla="*/ 42 w 2217"/>
                <a:gd name="T1" fmla="*/ 1184 h 1304"/>
                <a:gd name="T2" fmla="*/ 42 w 2217"/>
                <a:gd name="T3" fmla="*/ 1184 h 1304"/>
                <a:gd name="T4" fmla="*/ 272 w 2217"/>
                <a:gd name="T5" fmla="*/ 1261 h 1304"/>
                <a:gd name="T6" fmla="*/ 2097 w 2217"/>
                <a:gd name="T7" fmla="*/ 348 h 1304"/>
                <a:gd name="T8" fmla="*/ 2097 w 2217"/>
                <a:gd name="T9" fmla="*/ 348 h 1304"/>
                <a:gd name="T10" fmla="*/ 2174 w 2217"/>
                <a:gd name="T11" fmla="*/ 119 h 1304"/>
                <a:gd name="T12" fmla="*/ 2174 w 2217"/>
                <a:gd name="T13" fmla="*/ 119 h 1304"/>
                <a:gd name="T14" fmla="*/ 1945 w 2217"/>
                <a:gd name="T15" fmla="*/ 42 h 1304"/>
                <a:gd name="T16" fmla="*/ 118 w 2217"/>
                <a:gd name="T17" fmla="*/ 955 h 1304"/>
                <a:gd name="T18" fmla="*/ 118 w 2217"/>
                <a:gd name="T19" fmla="*/ 955 h 1304"/>
                <a:gd name="T20" fmla="*/ 42 w 2217"/>
                <a:gd name="T21" fmla="*/ 1184 h 13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217" h="1304">
                  <a:moveTo>
                    <a:pt x="42" y="1184"/>
                  </a:moveTo>
                  <a:lnTo>
                    <a:pt x="42" y="1184"/>
                  </a:lnTo>
                  <a:cubicBezTo>
                    <a:pt x="84" y="1269"/>
                    <a:pt x="187" y="1303"/>
                    <a:pt x="272" y="1261"/>
                  </a:cubicBezTo>
                  <a:lnTo>
                    <a:pt x="2097" y="348"/>
                  </a:lnTo>
                  <a:lnTo>
                    <a:pt x="2097" y="348"/>
                  </a:lnTo>
                  <a:cubicBezTo>
                    <a:pt x="2182" y="305"/>
                    <a:pt x="2216" y="202"/>
                    <a:pt x="2174" y="119"/>
                  </a:cubicBezTo>
                  <a:lnTo>
                    <a:pt x="2174" y="119"/>
                  </a:lnTo>
                  <a:cubicBezTo>
                    <a:pt x="2132" y="34"/>
                    <a:pt x="2029" y="0"/>
                    <a:pt x="1945" y="42"/>
                  </a:cubicBezTo>
                  <a:lnTo>
                    <a:pt x="118" y="955"/>
                  </a:lnTo>
                  <a:lnTo>
                    <a:pt x="118" y="955"/>
                  </a:lnTo>
                  <a:cubicBezTo>
                    <a:pt x="34" y="997"/>
                    <a:pt x="0" y="1100"/>
                    <a:pt x="42" y="1184"/>
                  </a:cubicBezTo>
                </a:path>
              </a:pathLst>
            </a:custGeom>
            <a:solidFill>
              <a:schemeClr val="accent3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s-ES_tradnl"/>
            </a:p>
          </p:txBody>
        </p:sp>
      </p:grpSp>
    </p:spTree>
    <p:extLst>
      <p:ext uri="{BB962C8B-B14F-4D97-AF65-F5344CB8AC3E}">
        <p14:creationId xmlns:p14="http://schemas.microsoft.com/office/powerpoint/2010/main" val="73789166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Überschrift 1 Kasten 3 Kreise Cyan_01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5E8BE331-C93C-4A62-8706-E5CDAF2B355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6000" y="576000"/>
            <a:ext cx="10515600" cy="427877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3200" baseline="0">
                <a:solidFill>
                  <a:srgbClr val="FFFFFF"/>
                </a:solidFill>
                <a:latin typeface="Roboto Medium" panose="02000000000000000000" pitchFamily="2" charset="0"/>
                <a:ea typeface="Roboto Medium" panose="02000000000000000000" pitchFamily="2" charset="0"/>
              </a:defRPr>
            </a:lvl1pPr>
          </a:lstStyle>
          <a:p>
            <a:r>
              <a:rPr lang="en-US" dirty="0" err="1"/>
              <a:t>Hier</a:t>
            </a:r>
            <a:r>
              <a:rPr lang="en-US" dirty="0"/>
              <a:t> </a:t>
            </a:r>
            <a:r>
              <a:rPr lang="en-US" dirty="0" err="1"/>
              <a:t>steht</a:t>
            </a:r>
            <a:r>
              <a:rPr lang="en-US" dirty="0"/>
              <a:t> </a:t>
            </a:r>
            <a:r>
              <a:rPr lang="en-US" dirty="0" err="1"/>
              <a:t>eine</a:t>
            </a:r>
            <a:r>
              <a:rPr lang="en-US" dirty="0"/>
              <a:t> </a:t>
            </a:r>
            <a:r>
              <a:rPr lang="en-US" dirty="0" err="1"/>
              <a:t>Überschrift</a:t>
            </a:r>
            <a:endParaRPr lang="en-IN" dirty="0"/>
          </a:p>
        </p:txBody>
      </p:sp>
      <p:sp>
        <p:nvSpPr>
          <p:cNvPr id="3" name="Rectangle: Rounded Corners 50">
            <a:extLst>
              <a:ext uri="{FF2B5EF4-FFF2-40B4-BE49-F238E27FC236}">
                <a16:creationId xmlns:a16="http://schemas.microsoft.com/office/drawing/2014/main" xmlns="" id="{A1720E21-15B2-4F53-8B59-A25415C9DE91}"/>
              </a:ext>
            </a:extLst>
          </p:cNvPr>
          <p:cNvSpPr/>
          <p:nvPr userDrawn="1"/>
        </p:nvSpPr>
        <p:spPr>
          <a:xfrm>
            <a:off x="692376" y="1739160"/>
            <a:ext cx="5403623" cy="3938829"/>
          </a:xfrm>
          <a:prstGeom prst="roundRect">
            <a:avLst>
              <a:gd name="adj" fmla="val 5840"/>
            </a:avLst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4" name="Freeform: Shape 7696">
            <a:extLst>
              <a:ext uri="{FF2B5EF4-FFF2-40B4-BE49-F238E27FC236}">
                <a16:creationId xmlns:a16="http://schemas.microsoft.com/office/drawing/2014/main" xmlns="" id="{95D19A47-CC34-4E82-94FB-DF6242A26D0C}"/>
              </a:ext>
            </a:extLst>
          </p:cNvPr>
          <p:cNvSpPr/>
          <p:nvPr userDrawn="1"/>
        </p:nvSpPr>
        <p:spPr>
          <a:xfrm rot="4800">
            <a:off x="9026931" y="1739160"/>
            <a:ext cx="1839076" cy="1841560"/>
          </a:xfrm>
          <a:custGeom>
            <a:avLst/>
            <a:gdLst/>
            <a:ahLst/>
            <a:cxnLst>
              <a:cxn ang="3cd4">
                <a:pos x="hc" y="t"/>
              </a:cxn>
              <a:cxn ang="cd2">
                <a:pos x="l" y="vc"/>
              </a:cxn>
              <a:cxn ang="cd4">
                <a:pos x="hc" y="b"/>
              </a:cxn>
              <a:cxn ang="0">
                <a:pos x="r" y="vc"/>
              </a:cxn>
            </a:cxnLst>
            <a:rect l="l" t="t" r="r" b="b"/>
            <a:pathLst>
              <a:path w="742" h="743">
                <a:moveTo>
                  <a:pt x="742" y="372"/>
                </a:moveTo>
                <a:cubicBezTo>
                  <a:pt x="742" y="577"/>
                  <a:pt x="576" y="743"/>
                  <a:pt x="371" y="743"/>
                </a:cubicBezTo>
                <a:cubicBezTo>
                  <a:pt x="166" y="743"/>
                  <a:pt x="0" y="577"/>
                  <a:pt x="0" y="372"/>
                </a:cubicBezTo>
                <a:cubicBezTo>
                  <a:pt x="0" y="166"/>
                  <a:pt x="166" y="0"/>
                  <a:pt x="371" y="0"/>
                </a:cubicBezTo>
                <a:cubicBezTo>
                  <a:pt x="576" y="0"/>
                  <a:pt x="742" y="166"/>
                  <a:pt x="742" y="372"/>
                </a:cubicBezTo>
                <a:close/>
              </a:path>
            </a:pathLst>
          </a:custGeom>
          <a:solidFill>
            <a:srgbClr val="142F4E"/>
          </a:solidFill>
          <a:ln cap="flat">
            <a:noFill/>
            <a:prstDash val="solid"/>
          </a:ln>
        </p:spPr>
        <p:txBody>
          <a:bodyPr vert="horz" wrap="none" lIns="45000" tIns="22500" rIns="45000" bIns="22500" anchor="ctr" anchorCtr="1" compatLnSpc="0"/>
          <a:lstStyle/>
          <a:p>
            <a:pPr hangingPunct="0"/>
            <a:endParaRPr lang="en-US" sz="900" dirty="0">
              <a:latin typeface="Arial" pitchFamily="18"/>
              <a:ea typeface="Arial Unicode MS" pitchFamily="2"/>
              <a:cs typeface="Arial Unicode MS" pitchFamily="2"/>
            </a:endParaRPr>
          </a:p>
        </p:txBody>
      </p:sp>
      <p:sp>
        <p:nvSpPr>
          <p:cNvPr id="5" name="Freeform: Shape 7697">
            <a:extLst>
              <a:ext uri="{FF2B5EF4-FFF2-40B4-BE49-F238E27FC236}">
                <a16:creationId xmlns:a16="http://schemas.microsoft.com/office/drawing/2014/main" xmlns="" id="{A3C40F24-6BDE-49D5-AF47-8EB3068B3A92}"/>
              </a:ext>
            </a:extLst>
          </p:cNvPr>
          <p:cNvSpPr/>
          <p:nvPr userDrawn="1"/>
        </p:nvSpPr>
        <p:spPr>
          <a:xfrm rot="4800">
            <a:off x="8809119" y="3836429"/>
            <a:ext cx="1841558" cy="1841560"/>
          </a:xfrm>
          <a:custGeom>
            <a:avLst/>
            <a:gdLst/>
            <a:ahLst/>
            <a:cxnLst>
              <a:cxn ang="3cd4">
                <a:pos x="hc" y="t"/>
              </a:cxn>
              <a:cxn ang="cd2">
                <a:pos x="l" y="vc"/>
              </a:cxn>
              <a:cxn ang="cd4">
                <a:pos x="hc" y="b"/>
              </a:cxn>
              <a:cxn ang="0">
                <a:pos x="r" y="vc"/>
              </a:cxn>
            </a:cxnLst>
            <a:rect l="l" t="t" r="r" b="b"/>
            <a:pathLst>
              <a:path w="743" h="743">
                <a:moveTo>
                  <a:pt x="743" y="372"/>
                </a:moveTo>
                <a:cubicBezTo>
                  <a:pt x="743" y="577"/>
                  <a:pt x="576" y="743"/>
                  <a:pt x="371" y="743"/>
                </a:cubicBezTo>
                <a:cubicBezTo>
                  <a:pt x="166" y="743"/>
                  <a:pt x="0" y="577"/>
                  <a:pt x="0" y="372"/>
                </a:cubicBezTo>
                <a:cubicBezTo>
                  <a:pt x="0" y="167"/>
                  <a:pt x="166" y="0"/>
                  <a:pt x="371" y="0"/>
                </a:cubicBezTo>
                <a:cubicBezTo>
                  <a:pt x="576" y="0"/>
                  <a:pt x="743" y="167"/>
                  <a:pt x="743" y="372"/>
                </a:cubicBezTo>
                <a:close/>
              </a:path>
            </a:pathLst>
          </a:custGeom>
          <a:solidFill>
            <a:srgbClr val="E1D6BC"/>
          </a:solidFill>
          <a:ln cap="flat">
            <a:noFill/>
            <a:prstDash val="solid"/>
          </a:ln>
        </p:spPr>
        <p:txBody>
          <a:bodyPr vert="horz" wrap="none" lIns="45000" tIns="22500" rIns="45000" bIns="22500" anchor="ctr" anchorCtr="1" compatLnSpc="0"/>
          <a:lstStyle/>
          <a:p>
            <a:pPr hangingPunct="0"/>
            <a:endParaRPr lang="en-US" sz="900" dirty="0">
              <a:latin typeface="Arial" pitchFamily="18"/>
              <a:ea typeface="Arial Unicode MS" pitchFamily="2"/>
              <a:cs typeface="Arial Unicode MS" pitchFamily="2"/>
            </a:endParaRPr>
          </a:p>
        </p:txBody>
      </p:sp>
      <p:sp>
        <p:nvSpPr>
          <p:cNvPr id="6" name="Freeform: Shape 7699">
            <a:extLst>
              <a:ext uri="{FF2B5EF4-FFF2-40B4-BE49-F238E27FC236}">
                <a16:creationId xmlns:a16="http://schemas.microsoft.com/office/drawing/2014/main" xmlns="" id="{CC2EF4BB-D6CF-4B7E-B5D6-601EB23433F3}"/>
              </a:ext>
            </a:extLst>
          </p:cNvPr>
          <p:cNvSpPr/>
          <p:nvPr userDrawn="1"/>
        </p:nvSpPr>
        <p:spPr>
          <a:xfrm rot="4800">
            <a:off x="7083754" y="2661224"/>
            <a:ext cx="1841558" cy="1841560"/>
          </a:xfrm>
          <a:custGeom>
            <a:avLst/>
            <a:gdLst/>
            <a:ahLst/>
            <a:cxnLst>
              <a:cxn ang="3cd4">
                <a:pos x="hc" y="t"/>
              </a:cxn>
              <a:cxn ang="cd2">
                <a:pos x="l" y="vc"/>
              </a:cxn>
              <a:cxn ang="cd4">
                <a:pos x="hc" y="b"/>
              </a:cxn>
              <a:cxn ang="0">
                <a:pos x="r" y="vc"/>
              </a:cxn>
            </a:cxnLst>
            <a:rect l="l" t="t" r="r" b="b"/>
            <a:pathLst>
              <a:path w="743" h="743">
                <a:moveTo>
                  <a:pt x="743" y="371"/>
                </a:moveTo>
                <a:cubicBezTo>
                  <a:pt x="743" y="576"/>
                  <a:pt x="577" y="743"/>
                  <a:pt x="372" y="743"/>
                </a:cubicBezTo>
                <a:cubicBezTo>
                  <a:pt x="166" y="743"/>
                  <a:pt x="0" y="576"/>
                  <a:pt x="0" y="371"/>
                </a:cubicBezTo>
                <a:cubicBezTo>
                  <a:pt x="0" y="166"/>
                  <a:pt x="166" y="0"/>
                  <a:pt x="372" y="0"/>
                </a:cubicBezTo>
                <a:cubicBezTo>
                  <a:pt x="577" y="0"/>
                  <a:pt x="743" y="166"/>
                  <a:pt x="743" y="371"/>
                </a:cubicBezTo>
                <a:close/>
              </a:path>
            </a:pathLst>
          </a:custGeom>
          <a:solidFill>
            <a:srgbClr val="CCECF9"/>
          </a:solidFill>
          <a:ln cap="flat">
            <a:noFill/>
            <a:prstDash val="solid"/>
          </a:ln>
        </p:spPr>
        <p:txBody>
          <a:bodyPr vert="horz" wrap="none" lIns="45000" tIns="22500" rIns="45000" bIns="22500" anchor="ctr" anchorCtr="1" compatLnSpc="0"/>
          <a:lstStyle/>
          <a:p>
            <a:pPr hangingPunct="0"/>
            <a:endParaRPr lang="en-US" sz="900">
              <a:latin typeface="Arial" pitchFamily="18"/>
              <a:ea typeface="Arial Unicode MS" pitchFamily="2"/>
              <a:cs typeface="Arial Unicode MS" pitchFamily="2"/>
            </a:endParaRPr>
          </a:p>
        </p:txBody>
      </p:sp>
    </p:spTree>
    <p:extLst>
      <p:ext uri="{BB962C8B-B14F-4D97-AF65-F5344CB8AC3E}">
        <p14:creationId xmlns:p14="http://schemas.microsoft.com/office/powerpoint/2010/main" val="549394492"/>
      </p:ext>
    </p:extLst>
  </p:cSld>
  <p:clrMapOvr>
    <a:masterClrMapping/>
  </p:clrMapOvr>
  <p:extLst>
    <p:ext uri="{DCECCB84-F9BA-43D5-87BE-67443E8EF086}">
      <p15:sldGuideLst xmlns:p15="http://schemas.microsoft.com/office/powerpoint/2012/main" xmlns="">
        <p15:guide id="1" orient="horz" pos="391">
          <p15:clr>
            <a:srgbClr val="FBAE40"/>
          </p15:clr>
        </p15:guide>
        <p15:guide id="3" pos="3840">
          <p15:clr>
            <a:srgbClr val="FBAE40"/>
          </p15:clr>
        </p15:guide>
        <p15:guide id="4" pos="438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Überschrift 1 Kasten 3 Kreise Cyan_02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5E8BE331-C93C-4A62-8706-E5CDAF2B355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6000" y="576000"/>
            <a:ext cx="10515600" cy="427877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3200" baseline="0">
                <a:solidFill>
                  <a:srgbClr val="FFFFFF"/>
                </a:solidFill>
                <a:latin typeface="Roboto Medium" panose="02000000000000000000" pitchFamily="2" charset="0"/>
                <a:ea typeface="Roboto Medium" panose="02000000000000000000" pitchFamily="2" charset="0"/>
              </a:defRPr>
            </a:lvl1pPr>
          </a:lstStyle>
          <a:p>
            <a:r>
              <a:rPr lang="en-US" dirty="0" err="1"/>
              <a:t>Hier</a:t>
            </a:r>
            <a:r>
              <a:rPr lang="en-US" dirty="0"/>
              <a:t> </a:t>
            </a:r>
            <a:r>
              <a:rPr lang="en-US" dirty="0" err="1"/>
              <a:t>steht</a:t>
            </a:r>
            <a:r>
              <a:rPr lang="en-US" dirty="0"/>
              <a:t> </a:t>
            </a:r>
            <a:r>
              <a:rPr lang="en-US" dirty="0" err="1"/>
              <a:t>eine</a:t>
            </a:r>
            <a:r>
              <a:rPr lang="en-US" dirty="0"/>
              <a:t> </a:t>
            </a:r>
            <a:r>
              <a:rPr lang="en-US" dirty="0" err="1"/>
              <a:t>Überschrift</a:t>
            </a:r>
            <a:endParaRPr lang="en-IN" dirty="0"/>
          </a:p>
        </p:txBody>
      </p:sp>
      <p:sp>
        <p:nvSpPr>
          <p:cNvPr id="7" name="Rectangle: Rounded Corners 50">
            <a:extLst>
              <a:ext uri="{FF2B5EF4-FFF2-40B4-BE49-F238E27FC236}">
                <a16:creationId xmlns:a16="http://schemas.microsoft.com/office/drawing/2014/main" xmlns="" id="{94CAEB98-D7A0-45ED-968D-3E86E430E7BF}"/>
              </a:ext>
            </a:extLst>
          </p:cNvPr>
          <p:cNvSpPr/>
          <p:nvPr userDrawn="1"/>
        </p:nvSpPr>
        <p:spPr>
          <a:xfrm>
            <a:off x="5687977" y="1739160"/>
            <a:ext cx="5403623" cy="3938829"/>
          </a:xfrm>
          <a:prstGeom prst="roundRect">
            <a:avLst>
              <a:gd name="adj" fmla="val 5840"/>
            </a:avLst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8" name="Freeform: Shape 7696">
            <a:extLst>
              <a:ext uri="{FF2B5EF4-FFF2-40B4-BE49-F238E27FC236}">
                <a16:creationId xmlns:a16="http://schemas.microsoft.com/office/drawing/2014/main" xmlns="" id="{06005970-6F62-4F3B-BEF9-C2ED1841E9BF}"/>
              </a:ext>
            </a:extLst>
          </p:cNvPr>
          <p:cNvSpPr/>
          <p:nvPr userDrawn="1"/>
        </p:nvSpPr>
        <p:spPr>
          <a:xfrm rot="4800">
            <a:off x="2638165" y="1738610"/>
            <a:ext cx="1839076" cy="1841560"/>
          </a:xfrm>
          <a:custGeom>
            <a:avLst/>
            <a:gdLst/>
            <a:ahLst/>
            <a:cxnLst>
              <a:cxn ang="3cd4">
                <a:pos x="hc" y="t"/>
              </a:cxn>
              <a:cxn ang="cd2">
                <a:pos x="l" y="vc"/>
              </a:cxn>
              <a:cxn ang="cd4">
                <a:pos x="hc" y="b"/>
              </a:cxn>
              <a:cxn ang="0">
                <a:pos x="r" y="vc"/>
              </a:cxn>
            </a:cxnLst>
            <a:rect l="l" t="t" r="r" b="b"/>
            <a:pathLst>
              <a:path w="742" h="743">
                <a:moveTo>
                  <a:pt x="742" y="372"/>
                </a:moveTo>
                <a:cubicBezTo>
                  <a:pt x="742" y="577"/>
                  <a:pt x="576" y="743"/>
                  <a:pt x="371" y="743"/>
                </a:cubicBezTo>
                <a:cubicBezTo>
                  <a:pt x="166" y="743"/>
                  <a:pt x="0" y="577"/>
                  <a:pt x="0" y="372"/>
                </a:cubicBezTo>
                <a:cubicBezTo>
                  <a:pt x="0" y="166"/>
                  <a:pt x="166" y="0"/>
                  <a:pt x="371" y="0"/>
                </a:cubicBezTo>
                <a:cubicBezTo>
                  <a:pt x="576" y="0"/>
                  <a:pt x="742" y="166"/>
                  <a:pt x="742" y="372"/>
                </a:cubicBezTo>
                <a:close/>
              </a:path>
            </a:pathLst>
          </a:custGeom>
          <a:solidFill>
            <a:srgbClr val="66C7EE"/>
          </a:solidFill>
          <a:ln cap="flat">
            <a:noFill/>
            <a:prstDash val="solid"/>
          </a:ln>
        </p:spPr>
        <p:txBody>
          <a:bodyPr vert="horz" wrap="none" lIns="45000" tIns="22500" rIns="45000" bIns="22500" anchor="ctr" anchorCtr="1" compatLnSpc="0"/>
          <a:lstStyle/>
          <a:p>
            <a:pPr hangingPunct="0"/>
            <a:endParaRPr lang="en-US" sz="900" dirty="0">
              <a:latin typeface="Arial" pitchFamily="18"/>
              <a:ea typeface="Arial Unicode MS" pitchFamily="2"/>
              <a:cs typeface="Arial Unicode MS" pitchFamily="2"/>
            </a:endParaRPr>
          </a:p>
        </p:txBody>
      </p:sp>
      <p:sp>
        <p:nvSpPr>
          <p:cNvPr id="9" name="Freeform: Shape 7697">
            <a:extLst>
              <a:ext uri="{FF2B5EF4-FFF2-40B4-BE49-F238E27FC236}">
                <a16:creationId xmlns:a16="http://schemas.microsoft.com/office/drawing/2014/main" xmlns="" id="{3D465952-3F9F-4E18-B2FE-7EFE1FACE295}"/>
              </a:ext>
            </a:extLst>
          </p:cNvPr>
          <p:cNvSpPr/>
          <p:nvPr userDrawn="1"/>
        </p:nvSpPr>
        <p:spPr>
          <a:xfrm rot="4800">
            <a:off x="2420353" y="3835879"/>
            <a:ext cx="1841558" cy="1841560"/>
          </a:xfrm>
          <a:custGeom>
            <a:avLst/>
            <a:gdLst/>
            <a:ahLst/>
            <a:cxnLst>
              <a:cxn ang="3cd4">
                <a:pos x="hc" y="t"/>
              </a:cxn>
              <a:cxn ang="cd2">
                <a:pos x="l" y="vc"/>
              </a:cxn>
              <a:cxn ang="cd4">
                <a:pos x="hc" y="b"/>
              </a:cxn>
              <a:cxn ang="0">
                <a:pos x="r" y="vc"/>
              </a:cxn>
            </a:cxnLst>
            <a:rect l="l" t="t" r="r" b="b"/>
            <a:pathLst>
              <a:path w="743" h="743">
                <a:moveTo>
                  <a:pt x="743" y="372"/>
                </a:moveTo>
                <a:cubicBezTo>
                  <a:pt x="743" y="577"/>
                  <a:pt x="576" y="743"/>
                  <a:pt x="371" y="743"/>
                </a:cubicBezTo>
                <a:cubicBezTo>
                  <a:pt x="166" y="743"/>
                  <a:pt x="0" y="577"/>
                  <a:pt x="0" y="372"/>
                </a:cubicBezTo>
                <a:cubicBezTo>
                  <a:pt x="0" y="167"/>
                  <a:pt x="166" y="0"/>
                  <a:pt x="371" y="0"/>
                </a:cubicBezTo>
                <a:cubicBezTo>
                  <a:pt x="576" y="0"/>
                  <a:pt x="743" y="167"/>
                  <a:pt x="743" y="372"/>
                </a:cubicBezTo>
                <a:close/>
              </a:path>
            </a:pathLst>
          </a:custGeom>
          <a:solidFill>
            <a:srgbClr val="142F4E"/>
          </a:solidFill>
          <a:ln cap="flat">
            <a:noFill/>
            <a:prstDash val="solid"/>
          </a:ln>
        </p:spPr>
        <p:txBody>
          <a:bodyPr vert="horz" wrap="none" lIns="45000" tIns="22500" rIns="45000" bIns="22500" anchor="ctr" anchorCtr="1" compatLnSpc="0"/>
          <a:lstStyle/>
          <a:p>
            <a:pPr hangingPunct="0"/>
            <a:endParaRPr lang="en-US" sz="900" dirty="0">
              <a:latin typeface="Arial" pitchFamily="18"/>
              <a:ea typeface="Arial Unicode MS" pitchFamily="2"/>
              <a:cs typeface="Arial Unicode MS" pitchFamily="2"/>
            </a:endParaRPr>
          </a:p>
        </p:txBody>
      </p:sp>
      <p:sp>
        <p:nvSpPr>
          <p:cNvPr id="10" name="Freeform: Shape 7699">
            <a:extLst>
              <a:ext uri="{FF2B5EF4-FFF2-40B4-BE49-F238E27FC236}">
                <a16:creationId xmlns:a16="http://schemas.microsoft.com/office/drawing/2014/main" xmlns="" id="{666A6208-3B9D-4D40-9E20-148B0A5508EA}"/>
              </a:ext>
            </a:extLst>
          </p:cNvPr>
          <p:cNvSpPr/>
          <p:nvPr userDrawn="1"/>
        </p:nvSpPr>
        <p:spPr>
          <a:xfrm rot="4800">
            <a:off x="694988" y="2660674"/>
            <a:ext cx="1841558" cy="1841560"/>
          </a:xfrm>
          <a:custGeom>
            <a:avLst/>
            <a:gdLst/>
            <a:ahLst/>
            <a:cxnLst>
              <a:cxn ang="3cd4">
                <a:pos x="hc" y="t"/>
              </a:cxn>
              <a:cxn ang="cd2">
                <a:pos x="l" y="vc"/>
              </a:cxn>
              <a:cxn ang="cd4">
                <a:pos x="hc" y="b"/>
              </a:cxn>
              <a:cxn ang="0">
                <a:pos x="r" y="vc"/>
              </a:cxn>
            </a:cxnLst>
            <a:rect l="l" t="t" r="r" b="b"/>
            <a:pathLst>
              <a:path w="743" h="743">
                <a:moveTo>
                  <a:pt x="743" y="371"/>
                </a:moveTo>
                <a:cubicBezTo>
                  <a:pt x="743" y="576"/>
                  <a:pt x="577" y="743"/>
                  <a:pt x="372" y="743"/>
                </a:cubicBezTo>
                <a:cubicBezTo>
                  <a:pt x="166" y="743"/>
                  <a:pt x="0" y="576"/>
                  <a:pt x="0" y="371"/>
                </a:cubicBezTo>
                <a:cubicBezTo>
                  <a:pt x="0" y="166"/>
                  <a:pt x="166" y="0"/>
                  <a:pt x="372" y="0"/>
                </a:cubicBezTo>
                <a:cubicBezTo>
                  <a:pt x="577" y="0"/>
                  <a:pt x="743" y="166"/>
                  <a:pt x="743" y="371"/>
                </a:cubicBezTo>
                <a:close/>
              </a:path>
            </a:pathLst>
          </a:custGeom>
          <a:solidFill>
            <a:srgbClr val="E1D6BC"/>
          </a:solidFill>
          <a:ln cap="flat">
            <a:noFill/>
            <a:prstDash val="solid"/>
          </a:ln>
        </p:spPr>
        <p:txBody>
          <a:bodyPr vert="horz" wrap="none" lIns="45000" tIns="22500" rIns="45000" bIns="22500" anchor="ctr" anchorCtr="1" compatLnSpc="0"/>
          <a:lstStyle/>
          <a:p>
            <a:pPr hangingPunct="0"/>
            <a:endParaRPr lang="en-US" sz="900">
              <a:latin typeface="Arial" pitchFamily="18"/>
              <a:ea typeface="Arial Unicode MS" pitchFamily="2"/>
              <a:cs typeface="Arial Unicode MS" pitchFamily="2"/>
            </a:endParaRPr>
          </a:p>
        </p:txBody>
      </p:sp>
    </p:spTree>
    <p:extLst>
      <p:ext uri="{BB962C8B-B14F-4D97-AF65-F5344CB8AC3E}">
        <p14:creationId xmlns:p14="http://schemas.microsoft.com/office/powerpoint/2010/main" val="1973483216"/>
      </p:ext>
    </p:extLst>
  </p:cSld>
  <p:clrMapOvr>
    <a:masterClrMapping/>
  </p:clrMapOvr>
  <p:extLst>
    <p:ext uri="{DCECCB84-F9BA-43D5-87BE-67443E8EF086}">
      <p15:sldGuideLst xmlns:p15="http://schemas.microsoft.com/office/powerpoint/2012/main" xmlns="">
        <p15:guide id="1" orient="horz" pos="391">
          <p15:clr>
            <a:srgbClr val="FBAE40"/>
          </p15:clr>
        </p15:guide>
        <p15:guide id="3" pos="3840">
          <p15:clr>
            <a:srgbClr val="FBAE40"/>
          </p15:clr>
        </p15:guide>
        <p15:guide id="4" pos="438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Überschrift 1 Kasten 3 Kreise Cyan_03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5E8BE331-C93C-4A62-8706-E5CDAF2B355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6000" y="576000"/>
            <a:ext cx="10515600" cy="427877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3200" baseline="0">
                <a:solidFill>
                  <a:srgbClr val="FFFFFF"/>
                </a:solidFill>
                <a:latin typeface="Roboto Medium" panose="02000000000000000000" pitchFamily="2" charset="0"/>
                <a:ea typeface="Roboto Medium" panose="02000000000000000000" pitchFamily="2" charset="0"/>
              </a:defRPr>
            </a:lvl1pPr>
          </a:lstStyle>
          <a:p>
            <a:r>
              <a:rPr lang="en-US" dirty="0" err="1"/>
              <a:t>Hier</a:t>
            </a:r>
            <a:r>
              <a:rPr lang="en-US" dirty="0"/>
              <a:t> </a:t>
            </a:r>
            <a:r>
              <a:rPr lang="en-US" dirty="0" err="1"/>
              <a:t>steht</a:t>
            </a:r>
            <a:r>
              <a:rPr lang="en-US" dirty="0"/>
              <a:t> </a:t>
            </a:r>
            <a:r>
              <a:rPr lang="en-US" dirty="0" err="1"/>
              <a:t>eine</a:t>
            </a:r>
            <a:r>
              <a:rPr lang="en-US" dirty="0"/>
              <a:t> </a:t>
            </a:r>
            <a:r>
              <a:rPr lang="en-US" dirty="0" err="1"/>
              <a:t>Überschrift</a:t>
            </a:r>
            <a:endParaRPr lang="en-IN" dirty="0"/>
          </a:p>
        </p:txBody>
      </p:sp>
      <p:sp>
        <p:nvSpPr>
          <p:cNvPr id="4" name="Freeform: Shape 7696">
            <a:extLst>
              <a:ext uri="{FF2B5EF4-FFF2-40B4-BE49-F238E27FC236}">
                <a16:creationId xmlns:a16="http://schemas.microsoft.com/office/drawing/2014/main" xmlns="" id="{95D19A47-CC34-4E82-94FB-DF6242A26D0C}"/>
              </a:ext>
            </a:extLst>
          </p:cNvPr>
          <p:cNvSpPr/>
          <p:nvPr userDrawn="1"/>
        </p:nvSpPr>
        <p:spPr>
          <a:xfrm rot="4800">
            <a:off x="9026931" y="1739160"/>
            <a:ext cx="1839076" cy="1841560"/>
          </a:xfrm>
          <a:custGeom>
            <a:avLst/>
            <a:gdLst/>
            <a:ahLst/>
            <a:cxnLst>
              <a:cxn ang="3cd4">
                <a:pos x="hc" y="t"/>
              </a:cxn>
              <a:cxn ang="cd2">
                <a:pos x="l" y="vc"/>
              </a:cxn>
              <a:cxn ang="cd4">
                <a:pos x="hc" y="b"/>
              </a:cxn>
              <a:cxn ang="0">
                <a:pos x="r" y="vc"/>
              </a:cxn>
            </a:cxnLst>
            <a:rect l="l" t="t" r="r" b="b"/>
            <a:pathLst>
              <a:path w="742" h="743">
                <a:moveTo>
                  <a:pt x="742" y="372"/>
                </a:moveTo>
                <a:cubicBezTo>
                  <a:pt x="742" y="577"/>
                  <a:pt x="576" y="743"/>
                  <a:pt x="371" y="743"/>
                </a:cubicBezTo>
                <a:cubicBezTo>
                  <a:pt x="166" y="743"/>
                  <a:pt x="0" y="577"/>
                  <a:pt x="0" y="372"/>
                </a:cubicBezTo>
                <a:cubicBezTo>
                  <a:pt x="0" y="166"/>
                  <a:pt x="166" y="0"/>
                  <a:pt x="371" y="0"/>
                </a:cubicBezTo>
                <a:cubicBezTo>
                  <a:pt x="576" y="0"/>
                  <a:pt x="742" y="166"/>
                  <a:pt x="742" y="372"/>
                </a:cubicBezTo>
                <a:close/>
              </a:path>
            </a:pathLst>
          </a:custGeom>
          <a:solidFill>
            <a:srgbClr val="142F4E"/>
          </a:solidFill>
          <a:ln cap="flat">
            <a:noFill/>
            <a:prstDash val="solid"/>
          </a:ln>
        </p:spPr>
        <p:txBody>
          <a:bodyPr vert="horz" wrap="none" lIns="45000" tIns="22500" rIns="45000" bIns="22500" anchor="ctr" anchorCtr="1" compatLnSpc="0"/>
          <a:lstStyle/>
          <a:p>
            <a:pPr hangingPunct="0"/>
            <a:endParaRPr lang="en-US" sz="900" dirty="0">
              <a:latin typeface="Arial" pitchFamily="18"/>
              <a:ea typeface="Arial Unicode MS" pitchFamily="2"/>
              <a:cs typeface="Arial Unicode MS" pitchFamily="2"/>
            </a:endParaRPr>
          </a:p>
        </p:txBody>
      </p:sp>
      <p:sp>
        <p:nvSpPr>
          <p:cNvPr id="5" name="Freeform: Shape 7697">
            <a:extLst>
              <a:ext uri="{FF2B5EF4-FFF2-40B4-BE49-F238E27FC236}">
                <a16:creationId xmlns:a16="http://schemas.microsoft.com/office/drawing/2014/main" xmlns="" id="{A3C40F24-6BDE-49D5-AF47-8EB3068B3A92}"/>
              </a:ext>
            </a:extLst>
          </p:cNvPr>
          <p:cNvSpPr/>
          <p:nvPr userDrawn="1"/>
        </p:nvSpPr>
        <p:spPr>
          <a:xfrm rot="4800">
            <a:off x="8809119" y="3836429"/>
            <a:ext cx="1841558" cy="1841560"/>
          </a:xfrm>
          <a:custGeom>
            <a:avLst/>
            <a:gdLst/>
            <a:ahLst/>
            <a:cxnLst>
              <a:cxn ang="3cd4">
                <a:pos x="hc" y="t"/>
              </a:cxn>
              <a:cxn ang="cd2">
                <a:pos x="l" y="vc"/>
              </a:cxn>
              <a:cxn ang="cd4">
                <a:pos x="hc" y="b"/>
              </a:cxn>
              <a:cxn ang="0">
                <a:pos x="r" y="vc"/>
              </a:cxn>
            </a:cxnLst>
            <a:rect l="l" t="t" r="r" b="b"/>
            <a:pathLst>
              <a:path w="743" h="743">
                <a:moveTo>
                  <a:pt x="743" y="372"/>
                </a:moveTo>
                <a:cubicBezTo>
                  <a:pt x="743" y="577"/>
                  <a:pt x="576" y="743"/>
                  <a:pt x="371" y="743"/>
                </a:cubicBezTo>
                <a:cubicBezTo>
                  <a:pt x="166" y="743"/>
                  <a:pt x="0" y="577"/>
                  <a:pt x="0" y="372"/>
                </a:cubicBezTo>
                <a:cubicBezTo>
                  <a:pt x="0" y="167"/>
                  <a:pt x="166" y="0"/>
                  <a:pt x="371" y="0"/>
                </a:cubicBezTo>
                <a:cubicBezTo>
                  <a:pt x="576" y="0"/>
                  <a:pt x="743" y="167"/>
                  <a:pt x="743" y="372"/>
                </a:cubicBezTo>
                <a:close/>
              </a:path>
            </a:pathLst>
          </a:custGeom>
          <a:solidFill>
            <a:srgbClr val="E1D6BC"/>
          </a:solidFill>
          <a:ln cap="flat">
            <a:noFill/>
            <a:prstDash val="solid"/>
          </a:ln>
        </p:spPr>
        <p:txBody>
          <a:bodyPr vert="horz" wrap="none" lIns="45000" tIns="22500" rIns="45000" bIns="22500" anchor="ctr" anchorCtr="1" compatLnSpc="0"/>
          <a:lstStyle/>
          <a:p>
            <a:pPr hangingPunct="0"/>
            <a:endParaRPr lang="en-US" sz="900" dirty="0">
              <a:latin typeface="Arial" pitchFamily="18"/>
              <a:ea typeface="Arial Unicode MS" pitchFamily="2"/>
              <a:cs typeface="Arial Unicode MS" pitchFamily="2"/>
            </a:endParaRPr>
          </a:p>
        </p:txBody>
      </p:sp>
      <p:sp>
        <p:nvSpPr>
          <p:cNvPr id="6" name="Freeform: Shape 7699">
            <a:extLst>
              <a:ext uri="{FF2B5EF4-FFF2-40B4-BE49-F238E27FC236}">
                <a16:creationId xmlns:a16="http://schemas.microsoft.com/office/drawing/2014/main" xmlns="" id="{CC2EF4BB-D6CF-4B7E-B5D6-601EB23433F3}"/>
              </a:ext>
            </a:extLst>
          </p:cNvPr>
          <p:cNvSpPr/>
          <p:nvPr userDrawn="1"/>
        </p:nvSpPr>
        <p:spPr>
          <a:xfrm rot="4800">
            <a:off x="7083754" y="2661224"/>
            <a:ext cx="1841558" cy="1841560"/>
          </a:xfrm>
          <a:custGeom>
            <a:avLst/>
            <a:gdLst/>
            <a:ahLst/>
            <a:cxnLst>
              <a:cxn ang="3cd4">
                <a:pos x="hc" y="t"/>
              </a:cxn>
              <a:cxn ang="cd2">
                <a:pos x="l" y="vc"/>
              </a:cxn>
              <a:cxn ang="cd4">
                <a:pos x="hc" y="b"/>
              </a:cxn>
              <a:cxn ang="0">
                <a:pos x="r" y="vc"/>
              </a:cxn>
            </a:cxnLst>
            <a:rect l="l" t="t" r="r" b="b"/>
            <a:pathLst>
              <a:path w="743" h="743">
                <a:moveTo>
                  <a:pt x="743" y="371"/>
                </a:moveTo>
                <a:cubicBezTo>
                  <a:pt x="743" y="576"/>
                  <a:pt x="577" y="743"/>
                  <a:pt x="372" y="743"/>
                </a:cubicBezTo>
                <a:cubicBezTo>
                  <a:pt x="166" y="743"/>
                  <a:pt x="0" y="576"/>
                  <a:pt x="0" y="371"/>
                </a:cubicBezTo>
                <a:cubicBezTo>
                  <a:pt x="0" y="166"/>
                  <a:pt x="166" y="0"/>
                  <a:pt x="372" y="0"/>
                </a:cubicBezTo>
                <a:cubicBezTo>
                  <a:pt x="577" y="0"/>
                  <a:pt x="743" y="166"/>
                  <a:pt x="743" y="371"/>
                </a:cubicBezTo>
                <a:close/>
              </a:path>
            </a:pathLst>
          </a:custGeom>
          <a:solidFill>
            <a:srgbClr val="CCECF9"/>
          </a:solidFill>
          <a:ln cap="flat">
            <a:noFill/>
            <a:prstDash val="solid"/>
          </a:ln>
        </p:spPr>
        <p:txBody>
          <a:bodyPr vert="horz" wrap="none" lIns="45000" tIns="22500" rIns="45000" bIns="22500" anchor="ctr" anchorCtr="1" compatLnSpc="0"/>
          <a:lstStyle/>
          <a:p>
            <a:pPr hangingPunct="0"/>
            <a:endParaRPr lang="en-US" sz="900">
              <a:latin typeface="Arial" pitchFamily="18"/>
              <a:ea typeface="Arial Unicode MS" pitchFamily="2"/>
              <a:cs typeface="Arial Unicode MS" pitchFamily="2"/>
            </a:endParaRPr>
          </a:p>
        </p:txBody>
      </p:sp>
      <p:sp>
        <p:nvSpPr>
          <p:cNvPr id="7" name="Rectangle: Rounded Corners 50">
            <a:extLst>
              <a:ext uri="{FF2B5EF4-FFF2-40B4-BE49-F238E27FC236}">
                <a16:creationId xmlns:a16="http://schemas.microsoft.com/office/drawing/2014/main" xmlns="" id="{DD0E9604-C61E-4427-8FC9-71FEC680CBA0}"/>
              </a:ext>
            </a:extLst>
          </p:cNvPr>
          <p:cNvSpPr/>
          <p:nvPr userDrawn="1"/>
        </p:nvSpPr>
        <p:spPr>
          <a:xfrm>
            <a:off x="692376" y="1739160"/>
            <a:ext cx="5403623" cy="4304589"/>
          </a:xfrm>
          <a:prstGeom prst="roundRect">
            <a:avLst>
              <a:gd name="adj" fmla="val 5840"/>
            </a:avLst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4130559641"/>
      </p:ext>
    </p:extLst>
  </p:cSld>
  <p:clrMapOvr>
    <a:masterClrMapping/>
  </p:clrMapOvr>
  <p:extLst>
    <p:ext uri="{DCECCB84-F9BA-43D5-87BE-67443E8EF086}">
      <p15:sldGuideLst xmlns:p15="http://schemas.microsoft.com/office/powerpoint/2012/main" xmlns="">
        <p15:guide id="1" orient="horz" pos="391">
          <p15:clr>
            <a:srgbClr val="FBAE40"/>
          </p15:clr>
        </p15:guide>
        <p15:guide id="3" pos="3840">
          <p15:clr>
            <a:srgbClr val="FBAE40"/>
          </p15:clr>
        </p15:guide>
        <p15:guide id="4" pos="438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intergrund hellblau">
    <p:bg>
      <p:bgPr>
        <a:solidFill>
          <a:srgbClr val="99D9F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xmlns="" id="{6146C23B-E0AD-4E75-96D4-2AB654861A8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xmlns="" id="{51819BDF-36A1-4AB8-9823-601B9C6BF09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A1110BE-A5D8-4C06-9CB1-4FB89613DA60}" type="datetimeFigureOut">
              <a:rPr lang="en-IN" smtClean="0"/>
              <a:pPr/>
              <a:t>28-09-2021</a:t>
            </a:fld>
            <a:endParaRPr lang="en-IN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xmlns="" id="{BAA2F64F-4D96-4983-82B5-32A039F4333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xmlns="" id="{51FB7C5A-23F5-4E8D-AF8E-7DAC4E3F8E0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72AEF7-1C8C-4F27-9F91-265614AC2E4C}" type="slidenum">
              <a:rPr lang="en-IN" smtClean="0"/>
              <a:pPr/>
              <a:t>‹Nr.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473158934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rte hellblau 01">
    <p:bg>
      <p:bgPr>
        <a:solidFill>
          <a:srgbClr val="99D9F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 5" descr="Ein Bild, das dunkel, suchend, Hügel, sitzend enthält.&#10;&#10;Automatisch generierte Beschreibung">
            <a:extLst>
              <a:ext uri="{FF2B5EF4-FFF2-40B4-BE49-F238E27FC236}">
                <a16:creationId xmlns:a16="http://schemas.microsoft.com/office/drawing/2014/main" xmlns="" id="{621E6BD5-0268-4DB3-B44D-DC6F0BB8B96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319593" y="-1510621"/>
            <a:ext cx="24476997" cy="15077989"/>
          </a:xfrm>
          <a:prstGeom prst="rect">
            <a:avLst/>
          </a:prstGeom>
        </p:spPr>
      </p:pic>
      <p:sp>
        <p:nvSpPr>
          <p:cNvPr id="3" name="Datumsplatzhalter 2">
            <a:extLst>
              <a:ext uri="{FF2B5EF4-FFF2-40B4-BE49-F238E27FC236}">
                <a16:creationId xmlns:a16="http://schemas.microsoft.com/office/drawing/2014/main" xmlns="" id="{51819BDF-36A1-4AB8-9823-601B9C6BF09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A1110BE-A5D8-4C06-9CB1-4FB89613DA60}" type="datetimeFigureOut">
              <a:rPr lang="en-IN" smtClean="0"/>
              <a:pPr/>
              <a:t>28-09-2021</a:t>
            </a:fld>
            <a:endParaRPr lang="en-IN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xmlns="" id="{BAA2F64F-4D96-4983-82B5-32A039F4333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xmlns="" id="{51FB7C5A-23F5-4E8D-AF8E-7DAC4E3F8E0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72AEF7-1C8C-4F27-9F91-265614AC2E4C}" type="slidenum">
              <a:rPr lang="en-IN" smtClean="0"/>
              <a:pPr/>
              <a:t>‹Nr.›</a:t>
            </a:fld>
            <a:endParaRPr lang="en-IN" dirty="0"/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xmlns="" id="{D6842730-F79E-4ADE-A462-1224E261F03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84092" y="5834819"/>
            <a:ext cx="1026908" cy="7040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31253346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rte hellblau 02">
    <p:bg>
      <p:bgPr>
        <a:solidFill>
          <a:srgbClr val="99D9F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xmlns="" id="{51819BDF-36A1-4AB8-9823-601B9C6BF09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A1110BE-A5D8-4C06-9CB1-4FB89613DA60}" type="datetimeFigureOut">
              <a:rPr lang="en-IN" smtClean="0"/>
              <a:pPr/>
              <a:t>28-09-2021</a:t>
            </a:fld>
            <a:endParaRPr lang="en-IN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xmlns="" id="{BAA2F64F-4D96-4983-82B5-32A039F4333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xmlns="" id="{51FB7C5A-23F5-4E8D-AF8E-7DAC4E3F8E0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72AEF7-1C8C-4F27-9F91-265614AC2E4C}" type="slidenum">
              <a:rPr lang="en-IN" smtClean="0"/>
              <a:pPr/>
              <a:t>‹Nr.›</a:t>
            </a:fld>
            <a:endParaRPr lang="en-IN" dirty="0"/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xmlns="" id="{C563B52F-C2F5-4A1B-A90D-5892456E748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24874" y="1343704"/>
            <a:ext cx="10766725" cy="54072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50611429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intergrund beig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5E8BE331-C93C-4A62-8706-E5CDAF2B355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6000" y="576000"/>
            <a:ext cx="10515600" cy="427877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3200" baseline="0">
                <a:solidFill>
                  <a:srgbClr val="FFFFFF"/>
                </a:solidFill>
                <a:latin typeface="Roboto Medium" panose="02000000000000000000" pitchFamily="2" charset="0"/>
                <a:ea typeface="Roboto Medium" panose="02000000000000000000" pitchFamily="2" charset="0"/>
              </a:defRPr>
            </a:lvl1pPr>
          </a:lstStyle>
          <a:p>
            <a:r>
              <a:rPr lang="en-US" dirty="0" err="1"/>
              <a:t>Hier</a:t>
            </a:r>
            <a:r>
              <a:rPr lang="en-US" dirty="0"/>
              <a:t> </a:t>
            </a:r>
            <a:r>
              <a:rPr lang="en-US" dirty="0" err="1"/>
              <a:t>steht</a:t>
            </a:r>
            <a:r>
              <a:rPr lang="en-US" dirty="0"/>
              <a:t> </a:t>
            </a:r>
            <a:r>
              <a:rPr lang="en-US" dirty="0" err="1"/>
              <a:t>eine</a:t>
            </a:r>
            <a:r>
              <a:rPr lang="en-US" dirty="0"/>
              <a:t> </a:t>
            </a:r>
            <a:r>
              <a:rPr lang="en-US" dirty="0" err="1"/>
              <a:t>Überschrift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346830393"/>
      </p:ext>
    </p:extLst>
  </p:cSld>
  <p:clrMapOvr>
    <a:masterClrMapping/>
  </p:clrMapOvr>
  <p:extLst>
    <p:ext uri="{DCECCB84-F9BA-43D5-87BE-67443E8EF086}">
      <p15:sldGuideLst xmlns:p15="http://schemas.microsoft.com/office/powerpoint/2012/main" xmlns="">
        <p15:guide id="1" orient="horz" pos="391">
          <p15:clr>
            <a:srgbClr val="FBAE40"/>
          </p15:clr>
        </p15:guide>
        <p15:guide id="3" pos="3840">
          <p15:clr>
            <a:srgbClr val="FBAE40"/>
          </p15:clr>
        </p15:guide>
        <p15:guide id="4" pos="438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Überschrift 1 Kasten beig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5E8BE331-C93C-4A62-8706-E5CDAF2B355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6000" y="576000"/>
            <a:ext cx="10515600" cy="427877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3200" baseline="0">
                <a:solidFill>
                  <a:srgbClr val="FFFFFF"/>
                </a:solidFill>
                <a:latin typeface="Roboto Medium" panose="02000000000000000000" pitchFamily="2" charset="0"/>
                <a:ea typeface="Roboto Medium" panose="02000000000000000000" pitchFamily="2" charset="0"/>
              </a:defRPr>
            </a:lvl1pPr>
          </a:lstStyle>
          <a:p>
            <a:r>
              <a:rPr lang="en-US" dirty="0" err="1"/>
              <a:t>Hier</a:t>
            </a:r>
            <a:r>
              <a:rPr lang="en-US" dirty="0"/>
              <a:t> </a:t>
            </a:r>
            <a:r>
              <a:rPr lang="en-US" dirty="0" err="1"/>
              <a:t>steht</a:t>
            </a:r>
            <a:r>
              <a:rPr lang="en-US" dirty="0"/>
              <a:t> </a:t>
            </a:r>
            <a:r>
              <a:rPr lang="en-US" dirty="0" err="1"/>
              <a:t>eine</a:t>
            </a:r>
            <a:r>
              <a:rPr lang="en-US" dirty="0"/>
              <a:t> </a:t>
            </a:r>
            <a:r>
              <a:rPr lang="en-US" dirty="0" err="1"/>
              <a:t>Überschrift</a:t>
            </a:r>
            <a:endParaRPr lang="en-IN" dirty="0"/>
          </a:p>
        </p:txBody>
      </p:sp>
      <p:sp>
        <p:nvSpPr>
          <p:cNvPr id="3" name="Rectangle: Rounded Corners 50">
            <a:extLst>
              <a:ext uri="{FF2B5EF4-FFF2-40B4-BE49-F238E27FC236}">
                <a16:creationId xmlns:a16="http://schemas.microsoft.com/office/drawing/2014/main" xmlns="" id="{5911D560-9FE6-4FD5-AADC-03D8AB03006C}"/>
              </a:ext>
            </a:extLst>
          </p:cNvPr>
          <p:cNvSpPr/>
          <p:nvPr userDrawn="1"/>
        </p:nvSpPr>
        <p:spPr>
          <a:xfrm>
            <a:off x="692376" y="1739160"/>
            <a:ext cx="10132377" cy="4224229"/>
          </a:xfrm>
          <a:prstGeom prst="roundRect">
            <a:avLst>
              <a:gd name="adj" fmla="val 5840"/>
            </a:avLst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grpSp>
        <p:nvGrpSpPr>
          <p:cNvPr id="4" name="Gruppieren 3">
            <a:extLst>
              <a:ext uri="{FF2B5EF4-FFF2-40B4-BE49-F238E27FC236}">
                <a16:creationId xmlns:a16="http://schemas.microsoft.com/office/drawing/2014/main" xmlns="" id="{D669C52E-9AE7-4994-AF86-9F65642EE252}"/>
              </a:ext>
            </a:extLst>
          </p:cNvPr>
          <p:cNvGrpSpPr/>
          <p:nvPr userDrawn="1"/>
        </p:nvGrpSpPr>
        <p:grpSpPr>
          <a:xfrm rot="20589661">
            <a:off x="7253207" y="-95236"/>
            <a:ext cx="7733937" cy="3072844"/>
            <a:chOff x="3517846" y="-1308843"/>
            <a:chExt cx="7733937" cy="3072844"/>
          </a:xfrm>
          <a:solidFill>
            <a:srgbClr val="66C7EE"/>
          </a:solidFill>
        </p:grpSpPr>
        <p:sp>
          <p:nvSpPr>
            <p:cNvPr id="5" name="Freeform 39">
              <a:extLst>
                <a:ext uri="{FF2B5EF4-FFF2-40B4-BE49-F238E27FC236}">
                  <a16:creationId xmlns:a16="http://schemas.microsoft.com/office/drawing/2014/main" xmlns="" id="{90A55C32-8FFF-4168-8A5D-A52FD53FCAD4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21030460" flipH="1">
              <a:off x="4815072" y="-1308843"/>
              <a:ext cx="5902672" cy="3072844"/>
            </a:xfrm>
            <a:custGeom>
              <a:avLst/>
              <a:gdLst>
                <a:gd name="T0" fmla="*/ 8043 w 8086"/>
                <a:gd name="T1" fmla="*/ 118 h 4239"/>
                <a:gd name="T2" fmla="*/ 8043 w 8086"/>
                <a:gd name="T3" fmla="*/ 118 h 4239"/>
                <a:gd name="T4" fmla="*/ 7814 w 8086"/>
                <a:gd name="T5" fmla="*/ 42 h 4239"/>
                <a:gd name="T6" fmla="*/ 119 w 8086"/>
                <a:gd name="T7" fmla="*/ 3890 h 4239"/>
                <a:gd name="T8" fmla="*/ 119 w 8086"/>
                <a:gd name="T9" fmla="*/ 3890 h 4239"/>
                <a:gd name="T10" fmla="*/ 42 w 8086"/>
                <a:gd name="T11" fmla="*/ 4120 h 4239"/>
                <a:gd name="T12" fmla="*/ 42 w 8086"/>
                <a:gd name="T13" fmla="*/ 4120 h 4239"/>
                <a:gd name="T14" fmla="*/ 272 w 8086"/>
                <a:gd name="T15" fmla="*/ 4196 h 4239"/>
                <a:gd name="T16" fmla="*/ 7967 w 8086"/>
                <a:gd name="T17" fmla="*/ 347 h 4239"/>
                <a:gd name="T18" fmla="*/ 7967 w 8086"/>
                <a:gd name="T19" fmla="*/ 347 h 4239"/>
                <a:gd name="T20" fmla="*/ 8043 w 8086"/>
                <a:gd name="T21" fmla="*/ 118 h 4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086" h="4239">
                  <a:moveTo>
                    <a:pt x="8043" y="118"/>
                  </a:moveTo>
                  <a:lnTo>
                    <a:pt x="8043" y="118"/>
                  </a:lnTo>
                  <a:cubicBezTo>
                    <a:pt x="8001" y="34"/>
                    <a:pt x="7898" y="0"/>
                    <a:pt x="7814" y="42"/>
                  </a:cubicBezTo>
                  <a:lnTo>
                    <a:pt x="119" y="3890"/>
                  </a:lnTo>
                  <a:lnTo>
                    <a:pt x="119" y="3890"/>
                  </a:lnTo>
                  <a:cubicBezTo>
                    <a:pt x="34" y="3932"/>
                    <a:pt x="0" y="4035"/>
                    <a:pt x="42" y="4120"/>
                  </a:cubicBezTo>
                  <a:lnTo>
                    <a:pt x="42" y="4120"/>
                  </a:lnTo>
                  <a:cubicBezTo>
                    <a:pt x="84" y="4204"/>
                    <a:pt x="187" y="4238"/>
                    <a:pt x="272" y="4196"/>
                  </a:cubicBezTo>
                  <a:lnTo>
                    <a:pt x="7967" y="347"/>
                  </a:lnTo>
                  <a:lnTo>
                    <a:pt x="7967" y="347"/>
                  </a:lnTo>
                  <a:cubicBezTo>
                    <a:pt x="8051" y="305"/>
                    <a:pt x="8085" y="203"/>
                    <a:pt x="8043" y="118"/>
                  </a:cubicBezTo>
                </a:path>
              </a:pathLst>
            </a:custGeom>
            <a:grpFill/>
            <a:ln>
              <a:noFill/>
            </a:ln>
            <a:effectLst/>
          </p:spPr>
          <p:txBody>
            <a:bodyPr wrap="none" anchor="ctr"/>
            <a:lstStyle/>
            <a:p>
              <a:endParaRPr lang="es-ES_tradnl"/>
            </a:p>
          </p:txBody>
        </p:sp>
        <p:sp>
          <p:nvSpPr>
            <p:cNvPr id="6" name="Freeform 40">
              <a:extLst>
                <a:ext uri="{FF2B5EF4-FFF2-40B4-BE49-F238E27FC236}">
                  <a16:creationId xmlns:a16="http://schemas.microsoft.com/office/drawing/2014/main" xmlns="" id="{24714B73-5C42-46DC-9563-3945DFEB1789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21030460" flipH="1">
              <a:off x="3917855" y="-1077475"/>
              <a:ext cx="617946" cy="450856"/>
            </a:xfrm>
            <a:custGeom>
              <a:avLst/>
              <a:gdLst>
                <a:gd name="T0" fmla="*/ 804 w 848"/>
                <a:gd name="T1" fmla="*/ 119 h 620"/>
                <a:gd name="T2" fmla="*/ 804 w 848"/>
                <a:gd name="T3" fmla="*/ 119 h 620"/>
                <a:gd name="T4" fmla="*/ 576 w 848"/>
                <a:gd name="T5" fmla="*/ 42 h 620"/>
                <a:gd name="T6" fmla="*/ 118 w 848"/>
                <a:gd name="T7" fmla="*/ 271 h 620"/>
                <a:gd name="T8" fmla="*/ 118 w 848"/>
                <a:gd name="T9" fmla="*/ 271 h 620"/>
                <a:gd name="T10" fmla="*/ 41 w 848"/>
                <a:gd name="T11" fmla="*/ 501 h 620"/>
                <a:gd name="T12" fmla="*/ 41 w 848"/>
                <a:gd name="T13" fmla="*/ 501 h 620"/>
                <a:gd name="T14" fmla="*/ 271 w 848"/>
                <a:gd name="T15" fmla="*/ 577 h 620"/>
                <a:gd name="T16" fmla="*/ 727 w 848"/>
                <a:gd name="T17" fmla="*/ 348 h 620"/>
                <a:gd name="T18" fmla="*/ 727 w 848"/>
                <a:gd name="T19" fmla="*/ 348 h 620"/>
                <a:gd name="T20" fmla="*/ 804 w 848"/>
                <a:gd name="T21" fmla="*/ 119 h 6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48" h="620">
                  <a:moveTo>
                    <a:pt x="804" y="119"/>
                  </a:moveTo>
                  <a:lnTo>
                    <a:pt x="804" y="119"/>
                  </a:lnTo>
                  <a:cubicBezTo>
                    <a:pt x="762" y="34"/>
                    <a:pt x="659" y="0"/>
                    <a:pt x="576" y="42"/>
                  </a:cubicBezTo>
                  <a:lnTo>
                    <a:pt x="118" y="271"/>
                  </a:lnTo>
                  <a:lnTo>
                    <a:pt x="118" y="271"/>
                  </a:lnTo>
                  <a:cubicBezTo>
                    <a:pt x="33" y="313"/>
                    <a:pt x="0" y="416"/>
                    <a:pt x="41" y="501"/>
                  </a:cubicBezTo>
                  <a:lnTo>
                    <a:pt x="41" y="501"/>
                  </a:lnTo>
                  <a:cubicBezTo>
                    <a:pt x="83" y="585"/>
                    <a:pt x="186" y="619"/>
                    <a:pt x="271" y="577"/>
                  </a:cubicBezTo>
                  <a:lnTo>
                    <a:pt x="727" y="348"/>
                  </a:lnTo>
                  <a:lnTo>
                    <a:pt x="727" y="348"/>
                  </a:lnTo>
                  <a:cubicBezTo>
                    <a:pt x="812" y="306"/>
                    <a:pt x="847" y="203"/>
                    <a:pt x="804" y="119"/>
                  </a:cubicBezTo>
                </a:path>
              </a:pathLst>
            </a:custGeom>
            <a:grpFill/>
            <a:ln>
              <a:noFill/>
            </a:ln>
            <a:effectLst/>
          </p:spPr>
          <p:txBody>
            <a:bodyPr wrap="none" anchor="ctr"/>
            <a:lstStyle/>
            <a:p>
              <a:endParaRPr lang="es-ES_tradnl"/>
            </a:p>
          </p:txBody>
        </p:sp>
        <p:sp>
          <p:nvSpPr>
            <p:cNvPr id="7" name="Freeform 41">
              <a:extLst>
                <a:ext uri="{FF2B5EF4-FFF2-40B4-BE49-F238E27FC236}">
                  <a16:creationId xmlns:a16="http://schemas.microsoft.com/office/drawing/2014/main" xmlns="" id="{5F93B15F-31A2-44E1-A92B-7700497B78FB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21030460" flipH="1">
              <a:off x="3517846" y="-1166395"/>
              <a:ext cx="286442" cy="284583"/>
            </a:xfrm>
            <a:custGeom>
              <a:avLst/>
              <a:gdLst>
                <a:gd name="T0" fmla="*/ 348 w 391"/>
                <a:gd name="T1" fmla="*/ 119 h 391"/>
                <a:gd name="T2" fmla="*/ 348 w 391"/>
                <a:gd name="T3" fmla="*/ 119 h 391"/>
                <a:gd name="T4" fmla="*/ 118 w 391"/>
                <a:gd name="T5" fmla="*/ 42 h 391"/>
                <a:gd name="T6" fmla="*/ 118 w 391"/>
                <a:gd name="T7" fmla="*/ 42 h 391"/>
                <a:gd name="T8" fmla="*/ 42 w 391"/>
                <a:gd name="T9" fmla="*/ 271 h 391"/>
                <a:gd name="T10" fmla="*/ 42 w 391"/>
                <a:gd name="T11" fmla="*/ 271 h 391"/>
                <a:gd name="T12" fmla="*/ 271 w 391"/>
                <a:gd name="T13" fmla="*/ 348 h 391"/>
                <a:gd name="T14" fmla="*/ 271 w 391"/>
                <a:gd name="T15" fmla="*/ 348 h 391"/>
                <a:gd name="T16" fmla="*/ 348 w 391"/>
                <a:gd name="T17" fmla="*/ 119 h 3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91" h="391">
                  <a:moveTo>
                    <a:pt x="348" y="119"/>
                  </a:moveTo>
                  <a:lnTo>
                    <a:pt x="348" y="119"/>
                  </a:lnTo>
                  <a:cubicBezTo>
                    <a:pt x="305" y="34"/>
                    <a:pt x="203" y="0"/>
                    <a:pt x="118" y="42"/>
                  </a:cubicBezTo>
                  <a:lnTo>
                    <a:pt x="118" y="42"/>
                  </a:lnTo>
                  <a:cubicBezTo>
                    <a:pt x="33" y="84"/>
                    <a:pt x="0" y="187"/>
                    <a:pt x="42" y="271"/>
                  </a:cubicBezTo>
                  <a:lnTo>
                    <a:pt x="42" y="271"/>
                  </a:lnTo>
                  <a:cubicBezTo>
                    <a:pt x="84" y="356"/>
                    <a:pt x="187" y="390"/>
                    <a:pt x="271" y="348"/>
                  </a:cubicBezTo>
                  <a:lnTo>
                    <a:pt x="271" y="348"/>
                  </a:lnTo>
                  <a:cubicBezTo>
                    <a:pt x="355" y="305"/>
                    <a:pt x="390" y="203"/>
                    <a:pt x="348" y="119"/>
                  </a:cubicBezTo>
                </a:path>
              </a:pathLst>
            </a:custGeom>
            <a:grpFill/>
            <a:ln>
              <a:noFill/>
            </a:ln>
            <a:effectLst/>
          </p:spPr>
          <p:txBody>
            <a:bodyPr wrap="none" anchor="ctr"/>
            <a:lstStyle/>
            <a:p>
              <a:endParaRPr lang="es-ES_tradnl"/>
            </a:p>
          </p:txBody>
        </p:sp>
        <p:sp>
          <p:nvSpPr>
            <p:cNvPr id="8" name="Freeform 42">
              <a:extLst>
                <a:ext uri="{FF2B5EF4-FFF2-40B4-BE49-F238E27FC236}">
                  <a16:creationId xmlns:a16="http://schemas.microsoft.com/office/drawing/2014/main" xmlns="" id="{9A62F54D-AE81-49AA-9078-732F29FA44BC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21030460" flipH="1">
              <a:off x="10968557" y="1106599"/>
              <a:ext cx="283226" cy="284583"/>
            </a:xfrm>
            <a:custGeom>
              <a:avLst/>
              <a:gdLst>
                <a:gd name="T0" fmla="*/ 347 w 390"/>
                <a:gd name="T1" fmla="*/ 119 h 392"/>
                <a:gd name="T2" fmla="*/ 347 w 390"/>
                <a:gd name="T3" fmla="*/ 119 h 392"/>
                <a:gd name="T4" fmla="*/ 118 w 390"/>
                <a:gd name="T5" fmla="*/ 42 h 392"/>
                <a:gd name="T6" fmla="*/ 118 w 390"/>
                <a:gd name="T7" fmla="*/ 42 h 392"/>
                <a:gd name="T8" fmla="*/ 42 w 390"/>
                <a:gd name="T9" fmla="*/ 272 h 392"/>
                <a:gd name="T10" fmla="*/ 42 w 390"/>
                <a:gd name="T11" fmla="*/ 272 h 392"/>
                <a:gd name="T12" fmla="*/ 271 w 390"/>
                <a:gd name="T13" fmla="*/ 348 h 392"/>
                <a:gd name="T14" fmla="*/ 271 w 390"/>
                <a:gd name="T15" fmla="*/ 348 h 392"/>
                <a:gd name="T16" fmla="*/ 347 w 390"/>
                <a:gd name="T17" fmla="*/ 119 h 3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90" h="392">
                  <a:moveTo>
                    <a:pt x="347" y="119"/>
                  </a:moveTo>
                  <a:lnTo>
                    <a:pt x="347" y="119"/>
                  </a:lnTo>
                  <a:cubicBezTo>
                    <a:pt x="305" y="35"/>
                    <a:pt x="203" y="0"/>
                    <a:pt x="118" y="42"/>
                  </a:cubicBezTo>
                  <a:lnTo>
                    <a:pt x="118" y="42"/>
                  </a:lnTo>
                  <a:cubicBezTo>
                    <a:pt x="34" y="84"/>
                    <a:pt x="0" y="187"/>
                    <a:pt x="42" y="272"/>
                  </a:cubicBezTo>
                  <a:lnTo>
                    <a:pt x="42" y="272"/>
                  </a:lnTo>
                  <a:cubicBezTo>
                    <a:pt x="84" y="356"/>
                    <a:pt x="186" y="391"/>
                    <a:pt x="271" y="348"/>
                  </a:cubicBezTo>
                  <a:lnTo>
                    <a:pt x="271" y="348"/>
                  </a:lnTo>
                  <a:cubicBezTo>
                    <a:pt x="356" y="306"/>
                    <a:pt x="389" y="203"/>
                    <a:pt x="347" y="119"/>
                  </a:cubicBezTo>
                </a:path>
              </a:pathLst>
            </a:custGeom>
            <a:grpFill/>
            <a:ln>
              <a:noFill/>
            </a:ln>
            <a:effectLst/>
          </p:spPr>
          <p:txBody>
            <a:bodyPr wrap="none" anchor="ctr"/>
            <a:lstStyle/>
            <a:p>
              <a:endParaRPr lang="es-ES_tradnl"/>
            </a:p>
          </p:txBody>
        </p:sp>
      </p:grpSp>
      <p:grpSp>
        <p:nvGrpSpPr>
          <p:cNvPr id="9" name="Gruppieren 8">
            <a:extLst>
              <a:ext uri="{FF2B5EF4-FFF2-40B4-BE49-F238E27FC236}">
                <a16:creationId xmlns:a16="http://schemas.microsoft.com/office/drawing/2014/main" xmlns="" id="{D7D1FF84-07D9-478E-9B28-D180B97C1256}"/>
              </a:ext>
            </a:extLst>
          </p:cNvPr>
          <p:cNvGrpSpPr/>
          <p:nvPr userDrawn="1"/>
        </p:nvGrpSpPr>
        <p:grpSpPr>
          <a:xfrm rot="20589661">
            <a:off x="-532038" y="-110409"/>
            <a:ext cx="7733937" cy="3072844"/>
            <a:chOff x="3517846" y="-1308843"/>
            <a:chExt cx="7733937" cy="3072844"/>
          </a:xfrm>
          <a:solidFill>
            <a:srgbClr val="66C7EE"/>
          </a:solidFill>
        </p:grpSpPr>
        <p:sp>
          <p:nvSpPr>
            <p:cNvPr id="10" name="Freeform 39">
              <a:extLst>
                <a:ext uri="{FF2B5EF4-FFF2-40B4-BE49-F238E27FC236}">
                  <a16:creationId xmlns:a16="http://schemas.microsoft.com/office/drawing/2014/main" xmlns="" id="{471DF305-1A04-4DDF-AEE1-D2719EE7DDC3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21030460" flipH="1">
              <a:off x="4815072" y="-1308843"/>
              <a:ext cx="5902672" cy="3072844"/>
            </a:xfrm>
            <a:custGeom>
              <a:avLst/>
              <a:gdLst>
                <a:gd name="T0" fmla="*/ 8043 w 8086"/>
                <a:gd name="T1" fmla="*/ 118 h 4239"/>
                <a:gd name="T2" fmla="*/ 8043 w 8086"/>
                <a:gd name="T3" fmla="*/ 118 h 4239"/>
                <a:gd name="T4" fmla="*/ 7814 w 8086"/>
                <a:gd name="T5" fmla="*/ 42 h 4239"/>
                <a:gd name="T6" fmla="*/ 119 w 8086"/>
                <a:gd name="T7" fmla="*/ 3890 h 4239"/>
                <a:gd name="T8" fmla="*/ 119 w 8086"/>
                <a:gd name="T9" fmla="*/ 3890 h 4239"/>
                <a:gd name="T10" fmla="*/ 42 w 8086"/>
                <a:gd name="T11" fmla="*/ 4120 h 4239"/>
                <a:gd name="T12" fmla="*/ 42 w 8086"/>
                <a:gd name="T13" fmla="*/ 4120 h 4239"/>
                <a:gd name="T14" fmla="*/ 272 w 8086"/>
                <a:gd name="T15" fmla="*/ 4196 h 4239"/>
                <a:gd name="T16" fmla="*/ 7967 w 8086"/>
                <a:gd name="T17" fmla="*/ 347 h 4239"/>
                <a:gd name="T18" fmla="*/ 7967 w 8086"/>
                <a:gd name="T19" fmla="*/ 347 h 4239"/>
                <a:gd name="T20" fmla="*/ 8043 w 8086"/>
                <a:gd name="T21" fmla="*/ 118 h 4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086" h="4239">
                  <a:moveTo>
                    <a:pt x="8043" y="118"/>
                  </a:moveTo>
                  <a:lnTo>
                    <a:pt x="8043" y="118"/>
                  </a:lnTo>
                  <a:cubicBezTo>
                    <a:pt x="8001" y="34"/>
                    <a:pt x="7898" y="0"/>
                    <a:pt x="7814" y="42"/>
                  </a:cubicBezTo>
                  <a:lnTo>
                    <a:pt x="119" y="3890"/>
                  </a:lnTo>
                  <a:lnTo>
                    <a:pt x="119" y="3890"/>
                  </a:lnTo>
                  <a:cubicBezTo>
                    <a:pt x="34" y="3932"/>
                    <a:pt x="0" y="4035"/>
                    <a:pt x="42" y="4120"/>
                  </a:cubicBezTo>
                  <a:lnTo>
                    <a:pt x="42" y="4120"/>
                  </a:lnTo>
                  <a:cubicBezTo>
                    <a:pt x="84" y="4204"/>
                    <a:pt x="187" y="4238"/>
                    <a:pt x="272" y="4196"/>
                  </a:cubicBezTo>
                  <a:lnTo>
                    <a:pt x="7967" y="347"/>
                  </a:lnTo>
                  <a:lnTo>
                    <a:pt x="7967" y="347"/>
                  </a:lnTo>
                  <a:cubicBezTo>
                    <a:pt x="8051" y="305"/>
                    <a:pt x="8085" y="203"/>
                    <a:pt x="8043" y="118"/>
                  </a:cubicBezTo>
                </a:path>
              </a:pathLst>
            </a:custGeom>
            <a:grpFill/>
            <a:ln>
              <a:noFill/>
            </a:ln>
            <a:effectLst/>
          </p:spPr>
          <p:txBody>
            <a:bodyPr wrap="none" anchor="ctr"/>
            <a:lstStyle/>
            <a:p>
              <a:endParaRPr lang="es-ES_tradnl"/>
            </a:p>
          </p:txBody>
        </p:sp>
        <p:sp>
          <p:nvSpPr>
            <p:cNvPr id="11" name="Freeform 40">
              <a:extLst>
                <a:ext uri="{FF2B5EF4-FFF2-40B4-BE49-F238E27FC236}">
                  <a16:creationId xmlns:a16="http://schemas.microsoft.com/office/drawing/2014/main" xmlns="" id="{DB6484FB-4B3A-41F0-85F0-B348B1867131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21030460" flipH="1">
              <a:off x="3917855" y="-1077475"/>
              <a:ext cx="617946" cy="450856"/>
            </a:xfrm>
            <a:custGeom>
              <a:avLst/>
              <a:gdLst>
                <a:gd name="T0" fmla="*/ 804 w 848"/>
                <a:gd name="T1" fmla="*/ 119 h 620"/>
                <a:gd name="T2" fmla="*/ 804 w 848"/>
                <a:gd name="T3" fmla="*/ 119 h 620"/>
                <a:gd name="T4" fmla="*/ 576 w 848"/>
                <a:gd name="T5" fmla="*/ 42 h 620"/>
                <a:gd name="T6" fmla="*/ 118 w 848"/>
                <a:gd name="T7" fmla="*/ 271 h 620"/>
                <a:gd name="T8" fmla="*/ 118 w 848"/>
                <a:gd name="T9" fmla="*/ 271 h 620"/>
                <a:gd name="T10" fmla="*/ 41 w 848"/>
                <a:gd name="T11" fmla="*/ 501 h 620"/>
                <a:gd name="T12" fmla="*/ 41 w 848"/>
                <a:gd name="T13" fmla="*/ 501 h 620"/>
                <a:gd name="T14" fmla="*/ 271 w 848"/>
                <a:gd name="T15" fmla="*/ 577 h 620"/>
                <a:gd name="T16" fmla="*/ 727 w 848"/>
                <a:gd name="T17" fmla="*/ 348 h 620"/>
                <a:gd name="T18" fmla="*/ 727 w 848"/>
                <a:gd name="T19" fmla="*/ 348 h 620"/>
                <a:gd name="T20" fmla="*/ 804 w 848"/>
                <a:gd name="T21" fmla="*/ 119 h 6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48" h="620">
                  <a:moveTo>
                    <a:pt x="804" y="119"/>
                  </a:moveTo>
                  <a:lnTo>
                    <a:pt x="804" y="119"/>
                  </a:lnTo>
                  <a:cubicBezTo>
                    <a:pt x="762" y="34"/>
                    <a:pt x="659" y="0"/>
                    <a:pt x="576" y="42"/>
                  </a:cubicBezTo>
                  <a:lnTo>
                    <a:pt x="118" y="271"/>
                  </a:lnTo>
                  <a:lnTo>
                    <a:pt x="118" y="271"/>
                  </a:lnTo>
                  <a:cubicBezTo>
                    <a:pt x="33" y="313"/>
                    <a:pt x="0" y="416"/>
                    <a:pt x="41" y="501"/>
                  </a:cubicBezTo>
                  <a:lnTo>
                    <a:pt x="41" y="501"/>
                  </a:lnTo>
                  <a:cubicBezTo>
                    <a:pt x="83" y="585"/>
                    <a:pt x="186" y="619"/>
                    <a:pt x="271" y="577"/>
                  </a:cubicBezTo>
                  <a:lnTo>
                    <a:pt x="727" y="348"/>
                  </a:lnTo>
                  <a:lnTo>
                    <a:pt x="727" y="348"/>
                  </a:lnTo>
                  <a:cubicBezTo>
                    <a:pt x="812" y="306"/>
                    <a:pt x="847" y="203"/>
                    <a:pt x="804" y="119"/>
                  </a:cubicBezTo>
                </a:path>
              </a:pathLst>
            </a:custGeom>
            <a:grpFill/>
            <a:ln>
              <a:noFill/>
            </a:ln>
            <a:effectLst/>
          </p:spPr>
          <p:txBody>
            <a:bodyPr wrap="none" anchor="ctr"/>
            <a:lstStyle/>
            <a:p>
              <a:endParaRPr lang="es-ES_tradnl"/>
            </a:p>
          </p:txBody>
        </p:sp>
        <p:sp>
          <p:nvSpPr>
            <p:cNvPr id="12" name="Freeform 41">
              <a:extLst>
                <a:ext uri="{FF2B5EF4-FFF2-40B4-BE49-F238E27FC236}">
                  <a16:creationId xmlns:a16="http://schemas.microsoft.com/office/drawing/2014/main" xmlns="" id="{532F6517-C5B0-4C86-A334-84DC10A430A7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21030460" flipH="1">
              <a:off x="3517846" y="-1166395"/>
              <a:ext cx="286442" cy="284583"/>
            </a:xfrm>
            <a:custGeom>
              <a:avLst/>
              <a:gdLst>
                <a:gd name="T0" fmla="*/ 348 w 391"/>
                <a:gd name="T1" fmla="*/ 119 h 391"/>
                <a:gd name="T2" fmla="*/ 348 w 391"/>
                <a:gd name="T3" fmla="*/ 119 h 391"/>
                <a:gd name="T4" fmla="*/ 118 w 391"/>
                <a:gd name="T5" fmla="*/ 42 h 391"/>
                <a:gd name="T6" fmla="*/ 118 w 391"/>
                <a:gd name="T7" fmla="*/ 42 h 391"/>
                <a:gd name="T8" fmla="*/ 42 w 391"/>
                <a:gd name="T9" fmla="*/ 271 h 391"/>
                <a:gd name="T10" fmla="*/ 42 w 391"/>
                <a:gd name="T11" fmla="*/ 271 h 391"/>
                <a:gd name="T12" fmla="*/ 271 w 391"/>
                <a:gd name="T13" fmla="*/ 348 h 391"/>
                <a:gd name="T14" fmla="*/ 271 w 391"/>
                <a:gd name="T15" fmla="*/ 348 h 391"/>
                <a:gd name="T16" fmla="*/ 348 w 391"/>
                <a:gd name="T17" fmla="*/ 119 h 3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91" h="391">
                  <a:moveTo>
                    <a:pt x="348" y="119"/>
                  </a:moveTo>
                  <a:lnTo>
                    <a:pt x="348" y="119"/>
                  </a:lnTo>
                  <a:cubicBezTo>
                    <a:pt x="305" y="34"/>
                    <a:pt x="203" y="0"/>
                    <a:pt x="118" y="42"/>
                  </a:cubicBezTo>
                  <a:lnTo>
                    <a:pt x="118" y="42"/>
                  </a:lnTo>
                  <a:cubicBezTo>
                    <a:pt x="33" y="84"/>
                    <a:pt x="0" y="187"/>
                    <a:pt x="42" y="271"/>
                  </a:cubicBezTo>
                  <a:lnTo>
                    <a:pt x="42" y="271"/>
                  </a:lnTo>
                  <a:cubicBezTo>
                    <a:pt x="84" y="356"/>
                    <a:pt x="187" y="390"/>
                    <a:pt x="271" y="348"/>
                  </a:cubicBezTo>
                  <a:lnTo>
                    <a:pt x="271" y="348"/>
                  </a:lnTo>
                  <a:cubicBezTo>
                    <a:pt x="355" y="305"/>
                    <a:pt x="390" y="203"/>
                    <a:pt x="348" y="119"/>
                  </a:cubicBezTo>
                </a:path>
              </a:pathLst>
            </a:custGeom>
            <a:grpFill/>
            <a:ln>
              <a:noFill/>
            </a:ln>
            <a:effectLst/>
          </p:spPr>
          <p:txBody>
            <a:bodyPr wrap="none" anchor="ctr"/>
            <a:lstStyle/>
            <a:p>
              <a:endParaRPr lang="es-ES_tradnl"/>
            </a:p>
          </p:txBody>
        </p:sp>
        <p:sp>
          <p:nvSpPr>
            <p:cNvPr id="13" name="Freeform 42">
              <a:extLst>
                <a:ext uri="{FF2B5EF4-FFF2-40B4-BE49-F238E27FC236}">
                  <a16:creationId xmlns:a16="http://schemas.microsoft.com/office/drawing/2014/main" xmlns="" id="{D91C1949-6522-4390-873E-22E7730AD83A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21030460" flipH="1">
              <a:off x="10968557" y="1106599"/>
              <a:ext cx="283226" cy="284583"/>
            </a:xfrm>
            <a:custGeom>
              <a:avLst/>
              <a:gdLst>
                <a:gd name="T0" fmla="*/ 347 w 390"/>
                <a:gd name="T1" fmla="*/ 119 h 392"/>
                <a:gd name="T2" fmla="*/ 347 w 390"/>
                <a:gd name="T3" fmla="*/ 119 h 392"/>
                <a:gd name="T4" fmla="*/ 118 w 390"/>
                <a:gd name="T5" fmla="*/ 42 h 392"/>
                <a:gd name="T6" fmla="*/ 118 w 390"/>
                <a:gd name="T7" fmla="*/ 42 h 392"/>
                <a:gd name="T8" fmla="*/ 42 w 390"/>
                <a:gd name="T9" fmla="*/ 272 h 392"/>
                <a:gd name="T10" fmla="*/ 42 w 390"/>
                <a:gd name="T11" fmla="*/ 272 h 392"/>
                <a:gd name="T12" fmla="*/ 271 w 390"/>
                <a:gd name="T13" fmla="*/ 348 h 392"/>
                <a:gd name="T14" fmla="*/ 271 w 390"/>
                <a:gd name="T15" fmla="*/ 348 h 392"/>
                <a:gd name="T16" fmla="*/ 347 w 390"/>
                <a:gd name="T17" fmla="*/ 119 h 3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90" h="392">
                  <a:moveTo>
                    <a:pt x="347" y="119"/>
                  </a:moveTo>
                  <a:lnTo>
                    <a:pt x="347" y="119"/>
                  </a:lnTo>
                  <a:cubicBezTo>
                    <a:pt x="305" y="35"/>
                    <a:pt x="203" y="0"/>
                    <a:pt x="118" y="42"/>
                  </a:cubicBezTo>
                  <a:lnTo>
                    <a:pt x="118" y="42"/>
                  </a:lnTo>
                  <a:cubicBezTo>
                    <a:pt x="34" y="84"/>
                    <a:pt x="0" y="187"/>
                    <a:pt x="42" y="272"/>
                  </a:cubicBezTo>
                  <a:lnTo>
                    <a:pt x="42" y="272"/>
                  </a:lnTo>
                  <a:cubicBezTo>
                    <a:pt x="84" y="356"/>
                    <a:pt x="186" y="391"/>
                    <a:pt x="271" y="348"/>
                  </a:cubicBezTo>
                  <a:lnTo>
                    <a:pt x="271" y="348"/>
                  </a:lnTo>
                  <a:cubicBezTo>
                    <a:pt x="356" y="306"/>
                    <a:pt x="389" y="203"/>
                    <a:pt x="347" y="119"/>
                  </a:cubicBezTo>
                </a:path>
              </a:pathLst>
            </a:custGeom>
            <a:grpFill/>
            <a:ln>
              <a:noFill/>
            </a:ln>
            <a:effectLst/>
          </p:spPr>
          <p:txBody>
            <a:bodyPr wrap="none" anchor="ctr"/>
            <a:lstStyle/>
            <a:p>
              <a:endParaRPr lang="es-ES_tradnl"/>
            </a:p>
          </p:txBody>
        </p:sp>
      </p:grpSp>
    </p:spTree>
    <p:extLst>
      <p:ext uri="{BB962C8B-B14F-4D97-AF65-F5344CB8AC3E}">
        <p14:creationId xmlns:p14="http://schemas.microsoft.com/office/powerpoint/2010/main" val="2815052497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391">
          <p15:clr>
            <a:srgbClr val="FBAE40"/>
          </p15:clr>
        </p15:guide>
        <p15:guide id="3" pos="3840">
          <p15:clr>
            <a:srgbClr val="FBAE40"/>
          </p15:clr>
        </p15:guide>
        <p15:guide id="4" pos="438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Überschrift 6 Kästen 2 Kreise beig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5E8BE331-C93C-4A62-8706-E5CDAF2B355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6000" y="576000"/>
            <a:ext cx="10515600" cy="427877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3200" baseline="0">
                <a:solidFill>
                  <a:srgbClr val="FFFFFF"/>
                </a:solidFill>
                <a:latin typeface="Roboto Medium" panose="02000000000000000000" pitchFamily="2" charset="0"/>
                <a:ea typeface="Roboto Medium" panose="02000000000000000000" pitchFamily="2" charset="0"/>
              </a:defRPr>
            </a:lvl1pPr>
          </a:lstStyle>
          <a:p>
            <a:r>
              <a:rPr lang="en-US" dirty="0" err="1"/>
              <a:t>Hier</a:t>
            </a:r>
            <a:r>
              <a:rPr lang="en-US" dirty="0"/>
              <a:t> </a:t>
            </a:r>
            <a:r>
              <a:rPr lang="en-US" dirty="0" err="1"/>
              <a:t>steht</a:t>
            </a:r>
            <a:r>
              <a:rPr lang="en-US" dirty="0"/>
              <a:t> </a:t>
            </a:r>
            <a:r>
              <a:rPr lang="en-US" dirty="0" err="1"/>
              <a:t>eine</a:t>
            </a:r>
            <a:r>
              <a:rPr lang="en-US" dirty="0"/>
              <a:t> </a:t>
            </a:r>
            <a:r>
              <a:rPr lang="en-US" dirty="0" err="1"/>
              <a:t>Überschrift</a:t>
            </a:r>
            <a:endParaRPr lang="en-IN" dirty="0"/>
          </a:p>
        </p:txBody>
      </p:sp>
      <p:sp>
        <p:nvSpPr>
          <p:cNvPr id="14" name="Rectangle: Rounded Corners 50">
            <a:extLst>
              <a:ext uri="{FF2B5EF4-FFF2-40B4-BE49-F238E27FC236}">
                <a16:creationId xmlns:a16="http://schemas.microsoft.com/office/drawing/2014/main" xmlns="" id="{B13CE8C3-7497-43F9-9787-7EF0B547C4D6}"/>
              </a:ext>
            </a:extLst>
          </p:cNvPr>
          <p:cNvSpPr/>
          <p:nvPr userDrawn="1"/>
        </p:nvSpPr>
        <p:spPr>
          <a:xfrm>
            <a:off x="6429376" y="4697110"/>
            <a:ext cx="3333748" cy="1914983"/>
          </a:xfrm>
          <a:prstGeom prst="roundRect">
            <a:avLst>
              <a:gd name="adj" fmla="val 5840"/>
            </a:avLst>
          </a:prstGeom>
          <a:solidFill>
            <a:srgbClr val="142F4E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grpSp>
        <p:nvGrpSpPr>
          <p:cNvPr id="15" name="Gruppieren 14">
            <a:extLst>
              <a:ext uri="{FF2B5EF4-FFF2-40B4-BE49-F238E27FC236}">
                <a16:creationId xmlns:a16="http://schemas.microsoft.com/office/drawing/2014/main" xmlns="" id="{1BF14E30-F1AD-4578-9976-FA5755DA47DB}"/>
              </a:ext>
            </a:extLst>
          </p:cNvPr>
          <p:cNvGrpSpPr/>
          <p:nvPr userDrawn="1"/>
        </p:nvGrpSpPr>
        <p:grpSpPr>
          <a:xfrm rot="20589661">
            <a:off x="7253207" y="-95236"/>
            <a:ext cx="7733937" cy="3072844"/>
            <a:chOff x="3517846" y="-1308843"/>
            <a:chExt cx="7733937" cy="3072844"/>
          </a:xfrm>
          <a:solidFill>
            <a:srgbClr val="66C7EE"/>
          </a:solidFill>
        </p:grpSpPr>
        <p:sp>
          <p:nvSpPr>
            <p:cNvPr id="16" name="Freeform 39">
              <a:extLst>
                <a:ext uri="{FF2B5EF4-FFF2-40B4-BE49-F238E27FC236}">
                  <a16:creationId xmlns:a16="http://schemas.microsoft.com/office/drawing/2014/main" xmlns="" id="{07DE0057-1410-44CD-84CB-F043DB183EC2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21030460" flipH="1">
              <a:off x="4815072" y="-1308843"/>
              <a:ext cx="5902672" cy="3072844"/>
            </a:xfrm>
            <a:custGeom>
              <a:avLst/>
              <a:gdLst>
                <a:gd name="T0" fmla="*/ 8043 w 8086"/>
                <a:gd name="T1" fmla="*/ 118 h 4239"/>
                <a:gd name="T2" fmla="*/ 8043 w 8086"/>
                <a:gd name="T3" fmla="*/ 118 h 4239"/>
                <a:gd name="T4" fmla="*/ 7814 w 8086"/>
                <a:gd name="T5" fmla="*/ 42 h 4239"/>
                <a:gd name="T6" fmla="*/ 119 w 8086"/>
                <a:gd name="T7" fmla="*/ 3890 h 4239"/>
                <a:gd name="T8" fmla="*/ 119 w 8086"/>
                <a:gd name="T9" fmla="*/ 3890 h 4239"/>
                <a:gd name="T10" fmla="*/ 42 w 8086"/>
                <a:gd name="T11" fmla="*/ 4120 h 4239"/>
                <a:gd name="T12" fmla="*/ 42 w 8086"/>
                <a:gd name="T13" fmla="*/ 4120 h 4239"/>
                <a:gd name="T14" fmla="*/ 272 w 8086"/>
                <a:gd name="T15" fmla="*/ 4196 h 4239"/>
                <a:gd name="T16" fmla="*/ 7967 w 8086"/>
                <a:gd name="T17" fmla="*/ 347 h 4239"/>
                <a:gd name="T18" fmla="*/ 7967 w 8086"/>
                <a:gd name="T19" fmla="*/ 347 h 4239"/>
                <a:gd name="T20" fmla="*/ 8043 w 8086"/>
                <a:gd name="T21" fmla="*/ 118 h 4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086" h="4239">
                  <a:moveTo>
                    <a:pt x="8043" y="118"/>
                  </a:moveTo>
                  <a:lnTo>
                    <a:pt x="8043" y="118"/>
                  </a:lnTo>
                  <a:cubicBezTo>
                    <a:pt x="8001" y="34"/>
                    <a:pt x="7898" y="0"/>
                    <a:pt x="7814" y="42"/>
                  </a:cubicBezTo>
                  <a:lnTo>
                    <a:pt x="119" y="3890"/>
                  </a:lnTo>
                  <a:lnTo>
                    <a:pt x="119" y="3890"/>
                  </a:lnTo>
                  <a:cubicBezTo>
                    <a:pt x="34" y="3932"/>
                    <a:pt x="0" y="4035"/>
                    <a:pt x="42" y="4120"/>
                  </a:cubicBezTo>
                  <a:lnTo>
                    <a:pt x="42" y="4120"/>
                  </a:lnTo>
                  <a:cubicBezTo>
                    <a:pt x="84" y="4204"/>
                    <a:pt x="187" y="4238"/>
                    <a:pt x="272" y="4196"/>
                  </a:cubicBezTo>
                  <a:lnTo>
                    <a:pt x="7967" y="347"/>
                  </a:lnTo>
                  <a:lnTo>
                    <a:pt x="7967" y="347"/>
                  </a:lnTo>
                  <a:cubicBezTo>
                    <a:pt x="8051" y="305"/>
                    <a:pt x="8085" y="203"/>
                    <a:pt x="8043" y="118"/>
                  </a:cubicBezTo>
                </a:path>
              </a:pathLst>
            </a:custGeom>
            <a:grpFill/>
            <a:ln>
              <a:noFill/>
            </a:ln>
            <a:effectLst/>
          </p:spPr>
          <p:txBody>
            <a:bodyPr wrap="none" anchor="ctr"/>
            <a:lstStyle/>
            <a:p>
              <a:endParaRPr lang="es-ES_tradnl"/>
            </a:p>
          </p:txBody>
        </p:sp>
        <p:sp>
          <p:nvSpPr>
            <p:cNvPr id="17" name="Freeform 40">
              <a:extLst>
                <a:ext uri="{FF2B5EF4-FFF2-40B4-BE49-F238E27FC236}">
                  <a16:creationId xmlns:a16="http://schemas.microsoft.com/office/drawing/2014/main" xmlns="" id="{CF1FFCDF-A133-4A7C-8964-E846FBC4A3A8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21030460" flipH="1">
              <a:off x="3917855" y="-1077475"/>
              <a:ext cx="617946" cy="450856"/>
            </a:xfrm>
            <a:custGeom>
              <a:avLst/>
              <a:gdLst>
                <a:gd name="T0" fmla="*/ 804 w 848"/>
                <a:gd name="T1" fmla="*/ 119 h 620"/>
                <a:gd name="T2" fmla="*/ 804 w 848"/>
                <a:gd name="T3" fmla="*/ 119 h 620"/>
                <a:gd name="T4" fmla="*/ 576 w 848"/>
                <a:gd name="T5" fmla="*/ 42 h 620"/>
                <a:gd name="T6" fmla="*/ 118 w 848"/>
                <a:gd name="T7" fmla="*/ 271 h 620"/>
                <a:gd name="T8" fmla="*/ 118 w 848"/>
                <a:gd name="T9" fmla="*/ 271 h 620"/>
                <a:gd name="T10" fmla="*/ 41 w 848"/>
                <a:gd name="T11" fmla="*/ 501 h 620"/>
                <a:gd name="T12" fmla="*/ 41 w 848"/>
                <a:gd name="T13" fmla="*/ 501 h 620"/>
                <a:gd name="T14" fmla="*/ 271 w 848"/>
                <a:gd name="T15" fmla="*/ 577 h 620"/>
                <a:gd name="T16" fmla="*/ 727 w 848"/>
                <a:gd name="T17" fmla="*/ 348 h 620"/>
                <a:gd name="T18" fmla="*/ 727 w 848"/>
                <a:gd name="T19" fmla="*/ 348 h 620"/>
                <a:gd name="T20" fmla="*/ 804 w 848"/>
                <a:gd name="T21" fmla="*/ 119 h 6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48" h="620">
                  <a:moveTo>
                    <a:pt x="804" y="119"/>
                  </a:moveTo>
                  <a:lnTo>
                    <a:pt x="804" y="119"/>
                  </a:lnTo>
                  <a:cubicBezTo>
                    <a:pt x="762" y="34"/>
                    <a:pt x="659" y="0"/>
                    <a:pt x="576" y="42"/>
                  </a:cubicBezTo>
                  <a:lnTo>
                    <a:pt x="118" y="271"/>
                  </a:lnTo>
                  <a:lnTo>
                    <a:pt x="118" y="271"/>
                  </a:lnTo>
                  <a:cubicBezTo>
                    <a:pt x="33" y="313"/>
                    <a:pt x="0" y="416"/>
                    <a:pt x="41" y="501"/>
                  </a:cubicBezTo>
                  <a:lnTo>
                    <a:pt x="41" y="501"/>
                  </a:lnTo>
                  <a:cubicBezTo>
                    <a:pt x="83" y="585"/>
                    <a:pt x="186" y="619"/>
                    <a:pt x="271" y="577"/>
                  </a:cubicBezTo>
                  <a:lnTo>
                    <a:pt x="727" y="348"/>
                  </a:lnTo>
                  <a:lnTo>
                    <a:pt x="727" y="348"/>
                  </a:lnTo>
                  <a:cubicBezTo>
                    <a:pt x="812" y="306"/>
                    <a:pt x="847" y="203"/>
                    <a:pt x="804" y="119"/>
                  </a:cubicBezTo>
                </a:path>
              </a:pathLst>
            </a:custGeom>
            <a:grpFill/>
            <a:ln>
              <a:noFill/>
            </a:ln>
            <a:effectLst/>
          </p:spPr>
          <p:txBody>
            <a:bodyPr wrap="none" anchor="ctr"/>
            <a:lstStyle/>
            <a:p>
              <a:endParaRPr lang="es-ES_tradnl"/>
            </a:p>
          </p:txBody>
        </p:sp>
        <p:sp>
          <p:nvSpPr>
            <p:cNvPr id="18" name="Freeform 41">
              <a:extLst>
                <a:ext uri="{FF2B5EF4-FFF2-40B4-BE49-F238E27FC236}">
                  <a16:creationId xmlns:a16="http://schemas.microsoft.com/office/drawing/2014/main" xmlns="" id="{69F28D14-6FAC-473D-AEE0-5D19EA07CE54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21030460" flipH="1">
              <a:off x="3517846" y="-1166395"/>
              <a:ext cx="286442" cy="284583"/>
            </a:xfrm>
            <a:custGeom>
              <a:avLst/>
              <a:gdLst>
                <a:gd name="T0" fmla="*/ 348 w 391"/>
                <a:gd name="T1" fmla="*/ 119 h 391"/>
                <a:gd name="T2" fmla="*/ 348 w 391"/>
                <a:gd name="T3" fmla="*/ 119 h 391"/>
                <a:gd name="T4" fmla="*/ 118 w 391"/>
                <a:gd name="T5" fmla="*/ 42 h 391"/>
                <a:gd name="T6" fmla="*/ 118 w 391"/>
                <a:gd name="T7" fmla="*/ 42 h 391"/>
                <a:gd name="T8" fmla="*/ 42 w 391"/>
                <a:gd name="T9" fmla="*/ 271 h 391"/>
                <a:gd name="T10" fmla="*/ 42 w 391"/>
                <a:gd name="T11" fmla="*/ 271 h 391"/>
                <a:gd name="T12" fmla="*/ 271 w 391"/>
                <a:gd name="T13" fmla="*/ 348 h 391"/>
                <a:gd name="T14" fmla="*/ 271 w 391"/>
                <a:gd name="T15" fmla="*/ 348 h 391"/>
                <a:gd name="T16" fmla="*/ 348 w 391"/>
                <a:gd name="T17" fmla="*/ 119 h 3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91" h="391">
                  <a:moveTo>
                    <a:pt x="348" y="119"/>
                  </a:moveTo>
                  <a:lnTo>
                    <a:pt x="348" y="119"/>
                  </a:lnTo>
                  <a:cubicBezTo>
                    <a:pt x="305" y="34"/>
                    <a:pt x="203" y="0"/>
                    <a:pt x="118" y="42"/>
                  </a:cubicBezTo>
                  <a:lnTo>
                    <a:pt x="118" y="42"/>
                  </a:lnTo>
                  <a:cubicBezTo>
                    <a:pt x="33" y="84"/>
                    <a:pt x="0" y="187"/>
                    <a:pt x="42" y="271"/>
                  </a:cubicBezTo>
                  <a:lnTo>
                    <a:pt x="42" y="271"/>
                  </a:lnTo>
                  <a:cubicBezTo>
                    <a:pt x="84" y="356"/>
                    <a:pt x="187" y="390"/>
                    <a:pt x="271" y="348"/>
                  </a:cubicBezTo>
                  <a:lnTo>
                    <a:pt x="271" y="348"/>
                  </a:lnTo>
                  <a:cubicBezTo>
                    <a:pt x="355" y="305"/>
                    <a:pt x="390" y="203"/>
                    <a:pt x="348" y="119"/>
                  </a:cubicBezTo>
                </a:path>
              </a:pathLst>
            </a:custGeom>
            <a:grpFill/>
            <a:ln>
              <a:noFill/>
            </a:ln>
            <a:effectLst/>
          </p:spPr>
          <p:txBody>
            <a:bodyPr wrap="none" anchor="ctr"/>
            <a:lstStyle/>
            <a:p>
              <a:endParaRPr lang="es-ES_tradnl"/>
            </a:p>
          </p:txBody>
        </p:sp>
        <p:sp>
          <p:nvSpPr>
            <p:cNvPr id="19" name="Freeform 42">
              <a:extLst>
                <a:ext uri="{FF2B5EF4-FFF2-40B4-BE49-F238E27FC236}">
                  <a16:creationId xmlns:a16="http://schemas.microsoft.com/office/drawing/2014/main" xmlns="" id="{4C15016C-F378-4D78-96EA-32341493111D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21030460" flipH="1">
              <a:off x="10968557" y="1106599"/>
              <a:ext cx="283226" cy="284583"/>
            </a:xfrm>
            <a:custGeom>
              <a:avLst/>
              <a:gdLst>
                <a:gd name="T0" fmla="*/ 347 w 390"/>
                <a:gd name="T1" fmla="*/ 119 h 392"/>
                <a:gd name="T2" fmla="*/ 347 w 390"/>
                <a:gd name="T3" fmla="*/ 119 h 392"/>
                <a:gd name="T4" fmla="*/ 118 w 390"/>
                <a:gd name="T5" fmla="*/ 42 h 392"/>
                <a:gd name="T6" fmla="*/ 118 w 390"/>
                <a:gd name="T7" fmla="*/ 42 h 392"/>
                <a:gd name="T8" fmla="*/ 42 w 390"/>
                <a:gd name="T9" fmla="*/ 272 h 392"/>
                <a:gd name="T10" fmla="*/ 42 w 390"/>
                <a:gd name="T11" fmla="*/ 272 h 392"/>
                <a:gd name="T12" fmla="*/ 271 w 390"/>
                <a:gd name="T13" fmla="*/ 348 h 392"/>
                <a:gd name="T14" fmla="*/ 271 w 390"/>
                <a:gd name="T15" fmla="*/ 348 h 392"/>
                <a:gd name="T16" fmla="*/ 347 w 390"/>
                <a:gd name="T17" fmla="*/ 119 h 3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90" h="392">
                  <a:moveTo>
                    <a:pt x="347" y="119"/>
                  </a:moveTo>
                  <a:lnTo>
                    <a:pt x="347" y="119"/>
                  </a:lnTo>
                  <a:cubicBezTo>
                    <a:pt x="305" y="35"/>
                    <a:pt x="203" y="0"/>
                    <a:pt x="118" y="42"/>
                  </a:cubicBezTo>
                  <a:lnTo>
                    <a:pt x="118" y="42"/>
                  </a:lnTo>
                  <a:cubicBezTo>
                    <a:pt x="34" y="84"/>
                    <a:pt x="0" y="187"/>
                    <a:pt x="42" y="272"/>
                  </a:cubicBezTo>
                  <a:lnTo>
                    <a:pt x="42" y="272"/>
                  </a:lnTo>
                  <a:cubicBezTo>
                    <a:pt x="84" y="356"/>
                    <a:pt x="186" y="391"/>
                    <a:pt x="271" y="348"/>
                  </a:cubicBezTo>
                  <a:lnTo>
                    <a:pt x="271" y="348"/>
                  </a:lnTo>
                  <a:cubicBezTo>
                    <a:pt x="356" y="306"/>
                    <a:pt x="389" y="203"/>
                    <a:pt x="347" y="119"/>
                  </a:cubicBezTo>
                </a:path>
              </a:pathLst>
            </a:custGeom>
            <a:grpFill/>
            <a:ln>
              <a:noFill/>
            </a:ln>
            <a:effectLst/>
          </p:spPr>
          <p:txBody>
            <a:bodyPr wrap="none" anchor="ctr"/>
            <a:lstStyle/>
            <a:p>
              <a:endParaRPr lang="es-ES_tradnl"/>
            </a:p>
          </p:txBody>
        </p:sp>
      </p:grpSp>
      <p:grpSp>
        <p:nvGrpSpPr>
          <p:cNvPr id="20" name="Gruppieren 19">
            <a:extLst>
              <a:ext uri="{FF2B5EF4-FFF2-40B4-BE49-F238E27FC236}">
                <a16:creationId xmlns:a16="http://schemas.microsoft.com/office/drawing/2014/main" xmlns="" id="{D8330DC7-F7C5-473F-8ED4-01CFA2A32019}"/>
              </a:ext>
            </a:extLst>
          </p:cNvPr>
          <p:cNvGrpSpPr/>
          <p:nvPr userDrawn="1"/>
        </p:nvGrpSpPr>
        <p:grpSpPr>
          <a:xfrm rot="20589661">
            <a:off x="-532038" y="-110409"/>
            <a:ext cx="7733937" cy="3072844"/>
            <a:chOff x="3517846" y="-1308843"/>
            <a:chExt cx="7733937" cy="3072844"/>
          </a:xfrm>
          <a:solidFill>
            <a:srgbClr val="66C7EE"/>
          </a:solidFill>
        </p:grpSpPr>
        <p:sp>
          <p:nvSpPr>
            <p:cNvPr id="21" name="Freeform 39">
              <a:extLst>
                <a:ext uri="{FF2B5EF4-FFF2-40B4-BE49-F238E27FC236}">
                  <a16:creationId xmlns:a16="http://schemas.microsoft.com/office/drawing/2014/main" xmlns="" id="{0E180C5C-581F-4945-A7E8-D7B4A21F9233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21030460" flipH="1">
              <a:off x="4815072" y="-1308843"/>
              <a:ext cx="5902672" cy="3072844"/>
            </a:xfrm>
            <a:custGeom>
              <a:avLst/>
              <a:gdLst>
                <a:gd name="T0" fmla="*/ 8043 w 8086"/>
                <a:gd name="T1" fmla="*/ 118 h 4239"/>
                <a:gd name="T2" fmla="*/ 8043 w 8086"/>
                <a:gd name="T3" fmla="*/ 118 h 4239"/>
                <a:gd name="T4" fmla="*/ 7814 w 8086"/>
                <a:gd name="T5" fmla="*/ 42 h 4239"/>
                <a:gd name="T6" fmla="*/ 119 w 8086"/>
                <a:gd name="T7" fmla="*/ 3890 h 4239"/>
                <a:gd name="T8" fmla="*/ 119 w 8086"/>
                <a:gd name="T9" fmla="*/ 3890 h 4239"/>
                <a:gd name="T10" fmla="*/ 42 w 8086"/>
                <a:gd name="T11" fmla="*/ 4120 h 4239"/>
                <a:gd name="T12" fmla="*/ 42 w 8086"/>
                <a:gd name="T13" fmla="*/ 4120 h 4239"/>
                <a:gd name="T14" fmla="*/ 272 w 8086"/>
                <a:gd name="T15" fmla="*/ 4196 h 4239"/>
                <a:gd name="T16" fmla="*/ 7967 w 8086"/>
                <a:gd name="T17" fmla="*/ 347 h 4239"/>
                <a:gd name="T18" fmla="*/ 7967 w 8086"/>
                <a:gd name="T19" fmla="*/ 347 h 4239"/>
                <a:gd name="T20" fmla="*/ 8043 w 8086"/>
                <a:gd name="T21" fmla="*/ 118 h 4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086" h="4239">
                  <a:moveTo>
                    <a:pt x="8043" y="118"/>
                  </a:moveTo>
                  <a:lnTo>
                    <a:pt x="8043" y="118"/>
                  </a:lnTo>
                  <a:cubicBezTo>
                    <a:pt x="8001" y="34"/>
                    <a:pt x="7898" y="0"/>
                    <a:pt x="7814" y="42"/>
                  </a:cubicBezTo>
                  <a:lnTo>
                    <a:pt x="119" y="3890"/>
                  </a:lnTo>
                  <a:lnTo>
                    <a:pt x="119" y="3890"/>
                  </a:lnTo>
                  <a:cubicBezTo>
                    <a:pt x="34" y="3932"/>
                    <a:pt x="0" y="4035"/>
                    <a:pt x="42" y="4120"/>
                  </a:cubicBezTo>
                  <a:lnTo>
                    <a:pt x="42" y="4120"/>
                  </a:lnTo>
                  <a:cubicBezTo>
                    <a:pt x="84" y="4204"/>
                    <a:pt x="187" y="4238"/>
                    <a:pt x="272" y="4196"/>
                  </a:cubicBezTo>
                  <a:lnTo>
                    <a:pt x="7967" y="347"/>
                  </a:lnTo>
                  <a:lnTo>
                    <a:pt x="7967" y="347"/>
                  </a:lnTo>
                  <a:cubicBezTo>
                    <a:pt x="8051" y="305"/>
                    <a:pt x="8085" y="203"/>
                    <a:pt x="8043" y="118"/>
                  </a:cubicBezTo>
                </a:path>
              </a:pathLst>
            </a:custGeom>
            <a:grpFill/>
            <a:ln>
              <a:noFill/>
            </a:ln>
            <a:effectLst/>
          </p:spPr>
          <p:txBody>
            <a:bodyPr wrap="none" anchor="ctr"/>
            <a:lstStyle/>
            <a:p>
              <a:endParaRPr lang="es-ES_tradnl"/>
            </a:p>
          </p:txBody>
        </p:sp>
        <p:sp>
          <p:nvSpPr>
            <p:cNvPr id="22" name="Freeform 40">
              <a:extLst>
                <a:ext uri="{FF2B5EF4-FFF2-40B4-BE49-F238E27FC236}">
                  <a16:creationId xmlns:a16="http://schemas.microsoft.com/office/drawing/2014/main" xmlns="" id="{BA08A442-251E-4B35-A9EF-F7EE6667B98E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21030460" flipH="1">
              <a:off x="3917855" y="-1077475"/>
              <a:ext cx="617946" cy="450856"/>
            </a:xfrm>
            <a:custGeom>
              <a:avLst/>
              <a:gdLst>
                <a:gd name="T0" fmla="*/ 804 w 848"/>
                <a:gd name="T1" fmla="*/ 119 h 620"/>
                <a:gd name="T2" fmla="*/ 804 w 848"/>
                <a:gd name="T3" fmla="*/ 119 h 620"/>
                <a:gd name="T4" fmla="*/ 576 w 848"/>
                <a:gd name="T5" fmla="*/ 42 h 620"/>
                <a:gd name="T6" fmla="*/ 118 w 848"/>
                <a:gd name="T7" fmla="*/ 271 h 620"/>
                <a:gd name="T8" fmla="*/ 118 w 848"/>
                <a:gd name="T9" fmla="*/ 271 h 620"/>
                <a:gd name="T10" fmla="*/ 41 w 848"/>
                <a:gd name="T11" fmla="*/ 501 h 620"/>
                <a:gd name="T12" fmla="*/ 41 w 848"/>
                <a:gd name="T13" fmla="*/ 501 h 620"/>
                <a:gd name="T14" fmla="*/ 271 w 848"/>
                <a:gd name="T15" fmla="*/ 577 h 620"/>
                <a:gd name="T16" fmla="*/ 727 w 848"/>
                <a:gd name="T17" fmla="*/ 348 h 620"/>
                <a:gd name="T18" fmla="*/ 727 w 848"/>
                <a:gd name="T19" fmla="*/ 348 h 620"/>
                <a:gd name="T20" fmla="*/ 804 w 848"/>
                <a:gd name="T21" fmla="*/ 119 h 6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48" h="620">
                  <a:moveTo>
                    <a:pt x="804" y="119"/>
                  </a:moveTo>
                  <a:lnTo>
                    <a:pt x="804" y="119"/>
                  </a:lnTo>
                  <a:cubicBezTo>
                    <a:pt x="762" y="34"/>
                    <a:pt x="659" y="0"/>
                    <a:pt x="576" y="42"/>
                  </a:cubicBezTo>
                  <a:lnTo>
                    <a:pt x="118" y="271"/>
                  </a:lnTo>
                  <a:lnTo>
                    <a:pt x="118" y="271"/>
                  </a:lnTo>
                  <a:cubicBezTo>
                    <a:pt x="33" y="313"/>
                    <a:pt x="0" y="416"/>
                    <a:pt x="41" y="501"/>
                  </a:cubicBezTo>
                  <a:lnTo>
                    <a:pt x="41" y="501"/>
                  </a:lnTo>
                  <a:cubicBezTo>
                    <a:pt x="83" y="585"/>
                    <a:pt x="186" y="619"/>
                    <a:pt x="271" y="577"/>
                  </a:cubicBezTo>
                  <a:lnTo>
                    <a:pt x="727" y="348"/>
                  </a:lnTo>
                  <a:lnTo>
                    <a:pt x="727" y="348"/>
                  </a:lnTo>
                  <a:cubicBezTo>
                    <a:pt x="812" y="306"/>
                    <a:pt x="847" y="203"/>
                    <a:pt x="804" y="119"/>
                  </a:cubicBezTo>
                </a:path>
              </a:pathLst>
            </a:custGeom>
            <a:grpFill/>
            <a:ln>
              <a:noFill/>
            </a:ln>
            <a:effectLst/>
          </p:spPr>
          <p:txBody>
            <a:bodyPr wrap="none" anchor="ctr"/>
            <a:lstStyle/>
            <a:p>
              <a:endParaRPr lang="es-ES_tradnl"/>
            </a:p>
          </p:txBody>
        </p:sp>
        <p:sp>
          <p:nvSpPr>
            <p:cNvPr id="23" name="Freeform 41">
              <a:extLst>
                <a:ext uri="{FF2B5EF4-FFF2-40B4-BE49-F238E27FC236}">
                  <a16:creationId xmlns:a16="http://schemas.microsoft.com/office/drawing/2014/main" xmlns="" id="{0DDF75C0-2A8F-48D2-B135-C1618E1F6F5A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21030460" flipH="1">
              <a:off x="3517846" y="-1166395"/>
              <a:ext cx="286442" cy="284583"/>
            </a:xfrm>
            <a:custGeom>
              <a:avLst/>
              <a:gdLst>
                <a:gd name="T0" fmla="*/ 348 w 391"/>
                <a:gd name="T1" fmla="*/ 119 h 391"/>
                <a:gd name="T2" fmla="*/ 348 w 391"/>
                <a:gd name="T3" fmla="*/ 119 h 391"/>
                <a:gd name="T4" fmla="*/ 118 w 391"/>
                <a:gd name="T5" fmla="*/ 42 h 391"/>
                <a:gd name="T6" fmla="*/ 118 w 391"/>
                <a:gd name="T7" fmla="*/ 42 h 391"/>
                <a:gd name="T8" fmla="*/ 42 w 391"/>
                <a:gd name="T9" fmla="*/ 271 h 391"/>
                <a:gd name="T10" fmla="*/ 42 w 391"/>
                <a:gd name="T11" fmla="*/ 271 h 391"/>
                <a:gd name="T12" fmla="*/ 271 w 391"/>
                <a:gd name="T13" fmla="*/ 348 h 391"/>
                <a:gd name="T14" fmla="*/ 271 w 391"/>
                <a:gd name="T15" fmla="*/ 348 h 391"/>
                <a:gd name="T16" fmla="*/ 348 w 391"/>
                <a:gd name="T17" fmla="*/ 119 h 3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91" h="391">
                  <a:moveTo>
                    <a:pt x="348" y="119"/>
                  </a:moveTo>
                  <a:lnTo>
                    <a:pt x="348" y="119"/>
                  </a:lnTo>
                  <a:cubicBezTo>
                    <a:pt x="305" y="34"/>
                    <a:pt x="203" y="0"/>
                    <a:pt x="118" y="42"/>
                  </a:cubicBezTo>
                  <a:lnTo>
                    <a:pt x="118" y="42"/>
                  </a:lnTo>
                  <a:cubicBezTo>
                    <a:pt x="33" y="84"/>
                    <a:pt x="0" y="187"/>
                    <a:pt x="42" y="271"/>
                  </a:cubicBezTo>
                  <a:lnTo>
                    <a:pt x="42" y="271"/>
                  </a:lnTo>
                  <a:cubicBezTo>
                    <a:pt x="84" y="356"/>
                    <a:pt x="187" y="390"/>
                    <a:pt x="271" y="348"/>
                  </a:cubicBezTo>
                  <a:lnTo>
                    <a:pt x="271" y="348"/>
                  </a:lnTo>
                  <a:cubicBezTo>
                    <a:pt x="355" y="305"/>
                    <a:pt x="390" y="203"/>
                    <a:pt x="348" y="119"/>
                  </a:cubicBezTo>
                </a:path>
              </a:pathLst>
            </a:custGeom>
            <a:grpFill/>
            <a:ln>
              <a:noFill/>
            </a:ln>
            <a:effectLst/>
          </p:spPr>
          <p:txBody>
            <a:bodyPr wrap="none" anchor="ctr"/>
            <a:lstStyle/>
            <a:p>
              <a:endParaRPr lang="es-ES_tradnl"/>
            </a:p>
          </p:txBody>
        </p:sp>
        <p:sp>
          <p:nvSpPr>
            <p:cNvPr id="24" name="Freeform 42">
              <a:extLst>
                <a:ext uri="{FF2B5EF4-FFF2-40B4-BE49-F238E27FC236}">
                  <a16:creationId xmlns:a16="http://schemas.microsoft.com/office/drawing/2014/main" xmlns="" id="{F91125BA-81AE-4877-BC6A-9514EF7B0CF3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21030460" flipH="1">
              <a:off x="10968557" y="1106599"/>
              <a:ext cx="283226" cy="284583"/>
            </a:xfrm>
            <a:custGeom>
              <a:avLst/>
              <a:gdLst>
                <a:gd name="T0" fmla="*/ 347 w 390"/>
                <a:gd name="T1" fmla="*/ 119 h 392"/>
                <a:gd name="T2" fmla="*/ 347 w 390"/>
                <a:gd name="T3" fmla="*/ 119 h 392"/>
                <a:gd name="T4" fmla="*/ 118 w 390"/>
                <a:gd name="T5" fmla="*/ 42 h 392"/>
                <a:gd name="T6" fmla="*/ 118 w 390"/>
                <a:gd name="T7" fmla="*/ 42 h 392"/>
                <a:gd name="T8" fmla="*/ 42 w 390"/>
                <a:gd name="T9" fmla="*/ 272 h 392"/>
                <a:gd name="T10" fmla="*/ 42 w 390"/>
                <a:gd name="T11" fmla="*/ 272 h 392"/>
                <a:gd name="T12" fmla="*/ 271 w 390"/>
                <a:gd name="T13" fmla="*/ 348 h 392"/>
                <a:gd name="T14" fmla="*/ 271 w 390"/>
                <a:gd name="T15" fmla="*/ 348 h 392"/>
                <a:gd name="T16" fmla="*/ 347 w 390"/>
                <a:gd name="T17" fmla="*/ 119 h 3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90" h="392">
                  <a:moveTo>
                    <a:pt x="347" y="119"/>
                  </a:moveTo>
                  <a:lnTo>
                    <a:pt x="347" y="119"/>
                  </a:lnTo>
                  <a:cubicBezTo>
                    <a:pt x="305" y="35"/>
                    <a:pt x="203" y="0"/>
                    <a:pt x="118" y="42"/>
                  </a:cubicBezTo>
                  <a:lnTo>
                    <a:pt x="118" y="42"/>
                  </a:lnTo>
                  <a:cubicBezTo>
                    <a:pt x="34" y="84"/>
                    <a:pt x="0" y="187"/>
                    <a:pt x="42" y="272"/>
                  </a:cubicBezTo>
                  <a:lnTo>
                    <a:pt x="42" y="272"/>
                  </a:lnTo>
                  <a:cubicBezTo>
                    <a:pt x="84" y="356"/>
                    <a:pt x="186" y="391"/>
                    <a:pt x="271" y="348"/>
                  </a:cubicBezTo>
                  <a:lnTo>
                    <a:pt x="271" y="348"/>
                  </a:lnTo>
                  <a:cubicBezTo>
                    <a:pt x="356" y="306"/>
                    <a:pt x="389" y="203"/>
                    <a:pt x="347" y="119"/>
                  </a:cubicBezTo>
                </a:path>
              </a:pathLst>
            </a:custGeom>
            <a:grpFill/>
            <a:ln>
              <a:noFill/>
            </a:ln>
            <a:effectLst/>
          </p:spPr>
          <p:txBody>
            <a:bodyPr wrap="none" anchor="ctr"/>
            <a:lstStyle/>
            <a:p>
              <a:endParaRPr lang="es-ES_tradnl"/>
            </a:p>
          </p:txBody>
        </p:sp>
      </p:grpSp>
      <p:sp>
        <p:nvSpPr>
          <p:cNvPr id="25" name="Rectangle: Rounded Corners 50">
            <a:extLst>
              <a:ext uri="{FF2B5EF4-FFF2-40B4-BE49-F238E27FC236}">
                <a16:creationId xmlns:a16="http://schemas.microsoft.com/office/drawing/2014/main" xmlns="" id="{C338F6D6-57CC-4630-9588-2E3F525A9662}"/>
              </a:ext>
            </a:extLst>
          </p:cNvPr>
          <p:cNvSpPr/>
          <p:nvPr userDrawn="1"/>
        </p:nvSpPr>
        <p:spPr>
          <a:xfrm>
            <a:off x="4781665" y="2155261"/>
            <a:ext cx="3237615" cy="2434349"/>
          </a:xfrm>
          <a:prstGeom prst="roundRect">
            <a:avLst>
              <a:gd name="adj" fmla="val 5840"/>
            </a:avLst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26" name="Abgerundetes Rechteck 2">
            <a:extLst>
              <a:ext uri="{FF2B5EF4-FFF2-40B4-BE49-F238E27FC236}">
                <a16:creationId xmlns:a16="http://schemas.microsoft.com/office/drawing/2014/main" xmlns="" id="{CDA939EC-9271-4AFC-806A-46F2E284CB2C}"/>
              </a:ext>
            </a:extLst>
          </p:cNvPr>
          <p:cNvSpPr/>
          <p:nvPr userDrawn="1"/>
        </p:nvSpPr>
        <p:spPr>
          <a:xfrm rot="16200000">
            <a:off x="-339792" y="3170014"/>
            <a:ext cx="2434344" cy="404851"/>
          </a:xfrm>
          <a:prstGeom prst="round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27" name="Freeform: Shape 7698">
            <a:extLst>
              <a:ext uri="{FF2B5EF4-FFF2-40B4-BE49-F238E27FC236}">
                <a16:creationId xmlns:a16="http://schemas.microsoft.com/office/drawing/2014/main" xmlns="" id="{A68EF2D0-835D-4A6E-930D-C3AD087315D9}"/>
              </a:ext>
            </a:extLst>
          </p:cNvPr>
          <p:cNvSpPr/>
          <p:nvPr userDrawn="1"/>
        </p:nvSpPr>
        <p:spPr>
          <a:xfrm rot="4800">
            <a:off x="9909415" y="4734169"/>
            <a:ext cx="955814" cy="955816"/>
          </a:xfrm>
          <a:custGeom>
            <a:avLst/>
            <a:gdLst/>
            <a:ahLst/>
            <a:cxnLst>
              <a:cxn ang="3cd4">
                <a:pos x="hc" y="t"/>
              </a:cxn>
              <a:cxn ang="cd2">
                <a:pos x="l" y="vc"/>
              </a:cxn>
              <a:cxn ang="cd4">
                <a:pos x="hc" y="b"/>
              </a:cxn>
              <a:cxn ang="0">
                <a:pos x="r" y="vc"/>
              </a:cxn>
            </a:cxnLst>
            <a:rect l="l" t="t" r="r" b="b"/>
            <a:pathLst>
              <a:path w="743" h="743">
                <a:moveTo>
                  <a:pt x="743" y="371"/>
                </a:moveTo>
                <a:cubicBezTo>
                  <a:pt x="743" y="576"/>
                  <a:pt x="576" y="743"/>
                  <a:pt x="371" y="743"/>
                </a:cubicBezTo>
                <a:cubicBezTo>
                  <a:pt x="166" y="743"/>
                  <a:pt x="0" y="576"/>
                  <a:pt x="0" y="371"/>
                </a:cubicBezTo>
                <a:cubicBezTo>
                  <a:pt x="0" y="166"/>
                  <a:pt x="166" y="0"/>
                  <a:pt x="371" y="0"/>
                </a:cubicBezTo>
                <a:cubicBezTo>
                  <a:pt x="576" y="0"/>
                  <a:pt x="743" y="166"/>
                  <a:pt x="743" y="371"/>
                </a:cubicBezTo>
                <a:close/>
              </a:path>
            </a:pathLst>
          </a:custGeom>
          <a:noFill/>
          <a:ln w="19050" cap="flat">
            <a:solidFill>
              <a:srgbClr val="FFFFFF"/>
            </a:solidFill>
            <a:prstDash val="solid"/>
          </a:ln>
        </p:spPr>
        <p:txBody>
          <a:bodyPr vert="horz" wrap="none" lIns="45000" tIns="22500" rIns="45000" bIns="22500" anchor="ctr" anchorCtr="1" compatLnSpc="0"/>
          <a:lstStyle/>
          <a:p>
            <a:pPr hangingPunct="0"/>
            <a:endParaRPr lang="en-US" sz="900" dirty="0">
              <a:latin typeface="Arial" pitchFamily="18"/>
              <a:ea typeface="Arial Unicode MS" pitchFamily="2"/>
              <a:cs typeface="Arial Unicode MS" pitchFamily="2"/>
            </a:endParaRPr>
          </a:p>
        </p:txBody>
      </p:sp>
      <p:sp>
        <p:nvSpPr>
          <p:cNvPr id="28" name="Freeform: Shape 7698">
            <a:extLst>
              <a:ext uri="{FF2B5EF4-FFF2-40B4-BE49-F238E27FC236}">
                <a16:creationId xmlns:a16="http://schemas.microsoft.com/office/drawing/2014/main" xmlns="" id="{8F6FA783-8ADA-4897-B547-CBD78CCB303D}"/>
              </a:ext>
            </a:extLst>
          </p:cNvPr>
          <p:cNvSpPr/>
          <p:nvPr userDrawn="1"/>
        </p:nvSpPr>
        <p:spPr>
          <a:xfrm rot="4800">
            <a:off x="2021735" y="4734169"/>
            <a:ext cx="955814" cy="955816"/>
          </a:xfrm>
          <a:custGeom>
            <a:avLst/>
            <a:gdLst/>
            <a:ahLst/>
            <a:cxnLst>
              <a:cxn ang="3cd4">
                <a:pos x="hc" y="t"/>
              </a:cxn>
              <a:cxn ang="cd2">
                <a:pos x="l" y="vc"/>
              </a:cxn>
              <a:cxn ang="cd4">
                <a:pos x="hc" y="b"/>
              </a:cxn>
              <a:cxn ang="0">
                <a:pos x="r" y="vc"/>
              </a:cxn>
            </a:cxnLst>
            <a:rect l="l" t="t" r="r" b="b"/>
            <a:pathLst>
              <a:path w="743" h="743">
                <a:moveTo>
                  <a:pt x="743" y="371"/>
                </a:moveTo>
                <a:cubicBezTo>
                  <a:pt x="743" y="576"/>
                  <a:pt x="576" y="743"/>
                  <a:pt x="371" y="743"/>
                </a:cubicBezTo>
                <a:cubicBezTo>
                  <a:pt x="166" y="743"/>
                  <a:pt x="0" y="576"/>
                  <a:pt x="0" y="371"/>
                </a:cubicBezTo>
                <a:cubicBezTo>
                  <a:pt x="0" y="166"/>
                  <a:pt x="166" y="0"/>
                  <a:pt x="371" y="0"/>
                </a:cubicBezTo>
                <a:cubicBezTo>
                  <a:pt x="576" y="0"/>
                  <a:pt x="743" y="166"/>
                  <a:pt x="743" y="371"/>
                </a:cubicBezTo>
                <a:close/>
              </a:path>
            </a:pathLst>
          </a:custGeom>
          <a:noFill/>
          <a:ln w="19050" cap="flat">
            <a:solidFill>
              <a:srgbClr val="FFFFFF"/>
            </a:solidFill>
            <a:prstDash val="solid"/>
          </a:ln>
        </p:spPr>
        <p:txBody>
          <a:bodyPr vert="horz" wrap="none" lIns="45000" tIns="22500" rIns="45000" bIns="22500" anchor="ctr" anchorCtr="1" compatLnSpc="0"/>
          <a:lstStyle/>
          <a:p>
            <a:pPr hangingPunct="0"/>
            <a:endParaRPr lang="en-US" sz="900" dirty="0">
              <a:latin typeface="Arial" pitchFamily="18"/>
              <a:ea typeface="Arial Unicode MS" pitchFamily="2"/>
              <a:cs typeface="Arial Unicode MS" pitchFamily="2"/>
            </a:endParaRPr>
          </a:p>
        </p:txBody>
      </p:sp>
      <p:sp>
        <p:nvSpPr>
          <p:cNvPr id="29" name="Rectangle: Rounded Corners 50">
            <a:extLst>
              <a:ext uri="{FF2B5EF4-FFF2-40B4-BE49-F238E27FC236}">
                <a16:creationId xmlns:a16="http://schemas.microsoft.com/office/drawing/2014/main" xmlns="" id="{B529CB76-4C3C-482D-92B3-70B65F128782}"/>
              </a:ext>
            </a:extLst>
          </p:cNvPr>
          <p:cNvSpPr/>
          <p:nvPr userDrawn="1"/>
        </p:nvSpPr>
        <p:spPr>
          <a:xfrm>
            <a:off x="3132396" y="4697110"/>
            <a:ext cx="3119286" cy="1914983"/>
          </a:xfrm>
          <a:prstGeom prst="roundRect">
            <a:avLst>
              <a:gd name="adj" fmla="val 5840"/>
            </a:avLst>
          </a:prstGeom>
          <a:solidFill>
            <a:srgbClr val="142F4E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30" name="Rectangle: Rounded Corners 50">
            <a:extLst>
              <a:ext uri="{FF2B5EF4-FFF2-40B4-BE49-F238E27FC236}">
                <a16:creationId xmlns:a16="http://schemas.microsoft.com/office/drawing/2014/main" xmlns="" id="{A0531D71-2E3C-4C0D-A53C-AF8823CBF0E0}"/>
              </a:ext>
            </a:extLst>
          </p:cNvPr>
          <p:cNvSpPr/>
          <p:nvPr userDrawn="1"/>
        </p:nvSpPr>
        <p:spPr>
          <a:xfrm>
            <a:off x="1359878" y="2155261"/>
            <a:ext cx="3237615" cy="2434349"/>
          </a:xfrm>
          <a:prstGeom prst="roundRect">
            <a:avLst>
              <a:gd name="adj" fmla="val 5840"/>
            </a:avLst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1" name="Rectangle: Rounded Corners 50">
            <a:extLst>
              <a:ext uri="{FF2B5EF4-FFF2-40B4-BE49-F238E27FC236}">
                <a16:creationId xmlns:a16="http://schemas.microsoft.com/office/drawing/2014/main" xmlns="" id="{1F43EFAB-00EA-4451-82BF-C9A48FC74027}"/>
              </a:ext>
            </a:extLst>
          </p:cNvPr>
          <p:cNvSpPr/>
          <p:nvPr userDrawn="1"/>
        </p:nvSpPr>
        <p:spPr>
          <a:xfrm>
            <a:off x="8183072" y="2164353"/>
            <a:ext cx="3237615" cy="2434349"/>
          </a:xfrm>
          <a:prstGeom prst="roundRect">
            <a:avLst>
              <a:gd name="adj" fmla="val 5840"/>
            </a:avLst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416483527"/>
      </p:ext>
    </p:extLst>
  </p:cSld>
  <p:clrMapOvr>
    <a:masterClrMapping/>
  </p:clrMapOvr>
  <p:extLst>
    <p:ext uri="{DCECCB84-F9BA-43D5-87BE-67443E8EF086}">
      <p15:sldGuideLst xmlns:p15="http://schemas.microsoft.com/office/powerpoint/2012/main" xmlns="">
        <p15:guide id="1" orient="horz" pos="391">
          <p15:clr>
            <a:srgbClr val="FBAE40"/>
          </p15:clr>
        </p15:guide>
        <p15:guide id="3" pos="3840">
          <p15:clr>
            <a:srgbClr val="FBAE40"/>
          </p15:clr>
        </p15:guide>
        <p15:guide id="4" pos="438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Überschrift 3 Kreise beig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5E8BE331-C93C-4A62-8706-E5CDAF2B355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6000" y="576000"/>
            <a:ext cx="10515600" cy="427877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3200" baseline="0">
                <a:solidFill>
                  <a:srgbClr val="FFFFFF"/>
                </a:solidFill>
                <a:latin typeface="Roboto Medium" panose="02000000000000000000" pitchFamily="2" charset="0"/>
                <a:ea typeface="Roboto Medium" panose="02000000000000000000" pitchFamily="2" charset="0"/>
              </a:defRPr>
            </a:lvl1pPr>
          </a:lstStyle>
          <a:p>
            <a:r>
              <a:rPr lang="en-US" dirty="0" err="1"/>
              <a:t>Hier</a:t>
            </a:r>
            <a:r>
              <a:rPr lang="en-US" dirty="0"/>
              <a:t> </a:t>
            </a:r>
            <a:r>
              <a:rPr lang="en-US" dirty="0" err="1"/>
              <a:t>steht</a:t>
            </a:r>
            <a:r>
              <a:rPr lang="en-US" dirty="0"/>
              <a:t> </a:t>
            </a:r>
            <a:r>
              <a:rPr lang="en-US" dirty="0" err="1"/>
              <a:t>eine</a:t>
            </a:r>
            <a:r>
              <a:rPr lang="en-US" dirty="0"/>
              <a:t> </a:t>
            </a:r>
            <a:r>
              <a:rPr lang="en-US" dirty="0" err="1"/>
              <a:t>Überschrift</a:t>
            </a:r>
            <a:endParaRPr lang="en-IN" dirty="0"/>
          </a:p>
        </p:txBody>
      </p:sp>
      <p:sp>
        <p:nvSpPr>
          <p:cNvPr id="3" name="Freeform: Shape 7696">
            <a:extLst>
              <a:ext uri="{FF2B5EF4-FFF2-40B4-BE49-F238E27FC236}">
                <a16:creationId xmlns:a16="http://schemas.microsoft.com/office/drawing/2014/main" xmlns="" id="{DC78782D-2414-410A-BEB3-DE08DAFFF50A}"/>
              </a:ext>
            </a:extLst>
          </p:cNvPr>
          <p:cNvSpPr/>
          <p:nvPr userDrawn="1"/>
        </p:nvSpPr>
        <p:spPr>
          <a:xfrm rot="4800">
            <a:off x="1250930" y="2741772"/>
            <a:ext cx="2585998" cy="2589490"/>
          </a:xfrm>
          <a:custGeom>
            <a:avLst/>
            <a:gdLst/>
            <a:ahLst/>
            <a:cxnLst>
              <a:cxn ang="3cd4">
                <a:pos x="hc" y="t"/>
              </a:cxn>
              <a:cxn ang="cd2">
                <a:pos x="l" y="vc"/>
              </a:cxn>
              <a:cxn ang="cd4">
                <a:pos x="hc" y="b"/>
              </a:cxn>
              <a:cxn ang="0">
                <a:pos x="r" y="vc"/>
              </a:cxn>
            </a:cxnLst>
            <a:rect l="l" t="t" r="r" b="b"/>
            <a:pathLst>
              <a:path w="742" h="743">
                <a:moveTo>
                  <a:pt x="742" y="372"/>
                </a:moveTo>
                <a:cubicBezTo>
                  <a:pt x="742" y="577"/>
                  <a:pt x="576" y="743"/>
                  <a:pt x="371" y="743"/>
                </a:cubicBezTo>
                <a:cubicBezTo>
                  <a:pt x="166" y="743"/>
                  <a:pt x="0" y="577"/>
                  <a:pt x="0" y="372"/>
                </a:cubicBezTo>
                <a:cubicBezTo>
                  <a:pt x="0" y="166"/>
                  <a:pt x="166" y="0"/>
                  <a:pt x="371" y="0"/>
                </a:cubicBezTo>
                <a:cubicBezTo>
                  <a:pt x="576" y="0"/>
                  <a:pt x="742" y="166"/>
                  <a:pt x="742" y="372"/>
                </a:cubicBezTo>
                <a:close/>
              </a:path>
            </a:pathLst>
          </a:custGeom>
          <a:solidFill>
            <a:schemeClr val="accent1"/>
          </a:solidFill>
          <a:ln cap="flat">
            <a:noFill/>
            <a:prstDash val="solid"/>
          </a:ln>
        </p:spPr>
        <p:txBody>
          <a:bodyPr vert="horz" wrap="none" lIns="45000" tIns="22500" rIns="45000" bIns="22500" anchor="ctr" anchorCtr="1" compatLnSpc="0"/>
          <a:lstStyle/>
          <a:p>
            <a:pPr hangingPunct="0"/>
            <a:endParaRPr lang="en-US" sz="900">
              <a:latin typeface="Arial" pitchFamily="18"/>
              <a:ea typeface="Arial Unicode MS" pitchFamily="2"/>
              <a:cs typeface="Arial Unicode MS" pitchFamily="2"/>
            </a:endParaRPr>
          </a:p>
        </p:txBody>
      </p:sp>
      <p:sp>
        <p:nvSpPr>
          <p:cNvPr id="4" name="Freeform: Shape 7698">
            <a:extLst>
              <a:ext uri="{FF2B5EF4-FFF2-40B4-BE49-F238E27FC236}">
                <a16:creationId xmlns:a16="http://schemas.microsoft.com/office/drawing/2014/main" xmlns="" id="{201BC647-AFF2-49EC-B991-BFCFF4647D7B}"/>
              </a:ext>
            </a:extLst>
          </p:cNvPr>
          <p:cNvSpPr/>
          <p:nvPr userDrawn="1"/>
        </p:nvSpPr>
        <p:spPr>
          <a:xfrm rot="4800">
            <a:off x="4803958" y="2730031"/>
            <a:ext cx="2589488" cy="2589490"/>
          </a:xfrm>
          <a:custGeom>
            <a:avLst/>
            <a:gdLst/>
            <a:ahLst/>
            <a:cxnLst>
              <a:cxn ang="3cd4">
                <a:pos x="hc" y="t"/>
              </a:cxn>
              <a:cxn ang="cd2">
                <a:pos x="l" y="vc"/>
              </a:cxn>
              <a:cxn ang="cd4">
                <a:pos x="hc" y="b"/>
              </a:cxn>
              <a:cxn ang="0">
                <a:pos x="r" y="vc"/>
              </a:cxn>
            </a:cxnLst>
            <a:rect l="l" t="t" r="r" b="b"/>
            <a:pathLst>
              <a:path w="743" h="743">
                <a:moveTo>
                  <a:pt x="743" y="371"/>
                </a:moveTo>
                <a:cubicBezTo>
                  <a:pt x="743" y="576"/>
                  <a:pt x="576" y="743"/>
                  <a:pt x="371" y="743"/>
                </a:cubicBezTo>
                <a:cubicBezTo>
                  <a:pt x="166" y="743"/>
                  <a:pt x="0" y="576"/>
                  <a:pt x="0" y="371"/>
                </a:cubicBezTo>
                <a:cubicBezTo>
                  <a:pt x="0" y="166"/>
                  <a:pt x="166" y="0"/>
                  <a:pt x="371" y="0"/>
                </a:cubicBezTo>
                <a:cubicBezTo>
                  <a:pt x="576" y="0"/>
                  <a:pt x="743" y="166"/>
                  <a:pt x="743" y="371"/>
                </a:cubicBezTo>
                <a:close/>
              </a:path>
            </a:pathLst>
          </a:custGeom>
          <a:solidFill>
            <a:schemeClr val="accent3"/>
          </a:solidFill>
          <a:ln cap="flat">
            <a:noFill/>
            <a:prstDash val="solid"/>
          </a:ln>
        </p:spPr>
        <p:txBody>
          <a:bodyPr vert="horz" wrap="none" lIns="45000" tIns="22500" rIns="45000" bIns="22500" anchor="ctr" anchorCtr="1" compatLnSpc="0"/>
          <a:lstStyle/>
          <a:p>
            <a:pPr hangingPunct="0"/>
            <a:endParaRPr lang="en-US" sz="900">
              <a:latin typeface="Arial" pitchFamily="18"/>
              <a:ea typeface="Arial Unicode MS" pitchFamily="2"/>
              <a:cs typeface="Arial Unicode MS" pitchFamily="2"/>
            </a:endParaRPr>
          </a:p>
        </p:txBody>
      </p:sp>
      <p:sp>
        <p:nvSpPr>
          <p:cNvPr id="5" name="Freeform: Shape 7700">
            <a:extLst>
              <a:ext uri="{FF2B5EF4-FFF2-40B4-BE49-F238E27FC236}">
                <a16:creationId xmlns:a16="http://schemas.microsoft.com/office/drawing/2014/main" xmlns="" id="{352D3E83-030A-4B9C-B800-8428F73EB347}"/>
              </a:ext>
            </a:extLst>
          </p:cNvPr>
          <p:cNvSpPr/>
          <p:nvPr userDrawn="1"/>
        </p:nvSpPr>
        <p:spPr>
          <a:xfrm rot="4800">
            <a:off x="8360474" y="2730032"/>
            <a:ext cx="2589488" cy="2589490"/>
          </a:xfrm>
          <a:custGeom>
            <a:avLst/>
            <a:gdLst/>
            <a:ahLst/>
            <a:cxnLst>
              <a:cxn ang="3cd4">
                <a:pos x="hc" y="t"/>
              </a:cxn>
              <a:cxn ang="cd2">
                <a:pos x="l" y="vc"/>
              </a:cxn>
              <a:cxn ang="cd4">
                <a:pos x="hc" y="b"/>
              </a:cxn>
              <a:cxn ang="0">
                <a:pos x="r" y="vc"/>
              </a:cxn>
            </a:cxnLst>
            <a:rect l="l" t="t" r="r" b="b"/>
            <a:pathLst>
              <a:path w="743" h="743">
                <a:moveTo>
                  <a:pt x="743" y="371"/>
                </a:moveTo>
                <a:cubicBezTo>
                  <a:pt x="743" y="577"/>
                  <a:pt x="576" y="743"/>
                  <a:pt x="371" y="743"/>
                </a:cubicBezTo>
                <a:cubicBezTo>
                  <a:pt x="166" y="743"/>
                  <a:pt x="0" y="577"/>
                  <a:pt x="0" y="371"/>
                </a:cubicBezTo>
                <a:cubicBezTo>
                  <a:pt x="0" y="166"/>
                  <a:pt x="166" y="0"/>
                  <a:pt x="371" y="0"/>
                </a:cubicBezTo>
                <a:cubicBezTo>
                  <a:pt x="576" y="0"/>
                  <a:pt x="743" y="166"/>
                  <a:pt x="743" y="371"/>
                </a:cubicBezTo>
                <a:close/>
              </a:path>
            </a:pathLst>
          </a:custGeom>
          <a:solidFill>
            <a:schemeClr val="accent5"/>
          </a:solidFill>
          <a:ln cap="flat">
            <a:noFill/>
            <a:prstDash val="solid"/>
          </a:ln>
        </p:spPr>
        <p:txBody>
          <a:bodyPr vert="horz" wrap="none" lIns="45000" tIns="22500" rIns="45000" bIns="22500" anchor="ctr" anchorCtr="1" compatLnSpc="0"/>
          <a:lstStyle/>
          <a:p>
            <a:pPr hangingPunct="0"/>
            <a:endParaRPr lang="en-US" sz="900">
              <a:latin typeface="Arial" pitchFamily="18"/>
              <a:ea typeface="Arial Unicode MS" pitchFamily="2"/>
              <a:cs typeface="Arial Unicode MS" pitchFamily="2"/>
            </a:endParaRPr>
          </a:p>
        </p:txBody>
      </p:sp>
      <p:grpSp>
        <p:nvGrpSpPr>
          <p:cNvPr id="6" name="Gruppieren 5">
            <a:extLst>
              <a:ext uri="{FF2B5EF4-FFF2-40B4-BE49-F238E27FC236}">
                <a16:creationId xmlns:a16="http://schemas.microsoft.com/office/drawing/2014/main" xmlns="" id="{9F4C7377-7E45-43F8-A50D-616952D59ADC}"/>
              </a:ext>
            </a:extLst>
          </p:cNvPr>
          <p:cNvGrpSpPr/>
          <p:nvPr userDrawn="1"/>
        </p:nvGrpSpPr>
        <p:grpSpPr>
          <a:xfrm rot="20589661">
            <a:off x="7253207" y="-95236"/>
            <a:ext cx="7733937" cy="3072844"/>
            <a:chOff x="3517846" y="-1308843"/>
            <a:chExt cx="7733937" cy="3072844"/>
          </a:xfrm>
          <a:solidFill>
            <a:srgbClr val="66C7EE"/>
          </a:solidFill>
        </p:grpSpPr>
        <p:sp>
          <p:nvSpPr>
            <p:cNvPr id="7" name="Freeform 39">
              <a:extLst>
                <a:ext uri="{FF2B5EF4-FFF2-40B4-BE49-F238E27FC236}">
                  <a16:creationId xmlns:a16="http://schemas.microsoft.com/office/drawing/2014/main" xmlns="" id="{11266BF6-8408-4EFD-A345-C41FDFB022C1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21030460" flipH="1">
              <a:off x="4815072" y="-1308843"/>
              <a:ext cx="5902672" cy="3072844"/>
            </a:xfrm>
            <a:custGeom>
              <a:avLst/>
              <a:gdLst>
                <a:gd name="T0" fmla="*/ 8043 w 8086"/>
                <a:gd name="T1" fmla="*/ 118 h 4239"/>
                <a:gd name="T2" fmla="*/ 8043 w 8086"/>
                <a:gd name="T3" fmla="*/ 118 h 4239"/>
                <a:gd name="T4" fmla="*/ 7814 w 8086"/>
                <a:gd name="T5" fmla="*/ 42 h 4239"/>
                <a:gd name="T6" fmla="*/ 119 w 8086"/>
                <a:gd name="T7" fmla="*/ 3890 h 4239"/>
                <a:gd name="T8" fmla="*/ 119 w 8086"/>
                <a:gd name="T9" fmla="*/ 3890 h 4239"/>
                <a:gd name="T10" fmla="*/ 42 w 8086"/>
                <a:gd name="T11" fmla="*/ 4120 h 4239"/>
                <a:gd name="T12" fmla="*/ 42 w 8086"/>
                <a:gd name="T13" fmla="*/ 4120 h 4239"/>
                <a:gd name="T14" fmla="*/ 272 w 8086"/>
                <a:gd name="T15" fmla="*/ 4196 h 4239"/>
                <a:gd name="T16" fmla="*/ 7967 w 8086"/>
                <a:gd name="T17" fmla="*/ 347 h 4239"/>
                <a:gd name="T18" fmla="*/ 7967 w 8086"/>
                <a:gd name="T19" fmla="*/ 347 h 4239"/>
                <a:gd name="T20" fmla="*/ 8043 w 8086"/>
                <a:gd name="T21" fmla="*/ 118 h 4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086" h="4239">
                  <a:moveTo>
                    <a:pt x="8043" y="118"/>
                  </a:moveTo>
                  <a:lnTo>
                    <a:pt x="8043" y="118"/>
                  </a:lnTo>
                  <a:cubicBezTo>
                    <a:pt x="8001" y="34"/>
                    <a:pt x="7898" y="0"/>
                    <a:pt x="7814" y="42"/>
                  </a:cubicBezTo>
                  <a:lnTo>
                    <a:pt x="119" y="3890"/>
                  </a:lnTo>
                  <a:lnTo>
                    <a:pt x="119" y="3890"/>
                  </a:lnTo>
                  <a:cubicBezTo>
                    <a:pt x="34" y="3932"/>
                    <a:pt x="0" y="4035"/>
                    <a:pt x="42" y="4120"/>
                  </a:cubicBezTo>
                  <a:lnTo>
                    <a:pt x="42" y="4120"/>
                  </a:lnTo>
                  <a:cubicBezTo>
                    <a:pt x="84" y="4204"/>
                    <a:pt x="187" y="4238"/>
                    <a:pt x="272" y="4196"/>
                  </a:cubicBezTo>
                  <a:lnTo>
                    <a:pt x="7967" y="347"/>
                  </a:lnTo>
                  <a:lnTo>
                    <a:pt x="7967" y="347"/>
                  </a:lnTo>
                  <a:cubicBezTo>
                    <a:pt x="8051" y="305"/>
                    <a:pt x="8085" y="203"/>
                    <a:pt x="8043" y="118"/>
                  </a:cubicBezTo>
                </a:path>
              </a:pathLst>
            </a:custGeom>
            <a:grpFill/>
            <a:ln>
              <a:noFill/>
            </a:ln>
            <a:effectLst/>
          </p:spPr>
          <p:txBody>
            <a:bodyPr wrap="none" anchor="ctr"/>
            <a:lstStyle/>
            <a:p>
              <a:endParaRPr lang="es-ES_tradnl"/>
            </a:p>
          </p:txBody>
        </p:sp>
        <p:sp>
          <p:nvSpPr>
            <p:cNvPr id="8" name="Freeform 40">
              <a:extLst>
                <a:ext uri="{FF2B5EF4-FFF2-40B4-BE49-F238E27FC236}">
                  <a16:creationId xmlns:a16="http://schemas.microsoft.com/office/drawing/2014/main" xmlns="" id="{5E041FDE-78CE-4A50-A755-D8325F8E3948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21030460" flipH="1">
              <a:off x="3917855" y="-1077475"/>
              <a:ext cx="617946" cy="450856"/>
            </a:xfrm>
            <a:custGeom>
              <a:avLst/>
              <a:gdLst>
                <a:gd name="T0" fmla="*/ 804 w 848"/>
                <a:gd name="T1" fmla="*/ 119 h 620"/>
                <a:gd name="T2" fmla="*/ 804 w 848"/>
                <a:gd name="T3" fmla="*/ 119 h 620"/>
                <a:gd name="T4" fmla="*/ 576 w 848"/>
                <a:gd name="T5" fmla="*/ 42 h 620"/>
                <a:gd name="T6" fmla="*/ 118 w 848"/>
                <a:gd name="T7" fmla="*/ 271 h 620"/>
                <a:gd name="T8" fmla="*/ 118 w 848"/>
                <a:gd name="T9" fmla="*/ 271 h 620"/>
                <a:gd name="T10" fmla="*/ 41 w 848"/>
                <a:gd name="T11" fmla="*/ 501 h 620"/>
                <a:gd name="T12" fmla="*/ 41 w 848"/>
                <a:gd name="T13" fmla="*/ 501 h 620"/>
                <a:gd name="T14" fmla="*/ 271 w 848"/>
                <a:gd name="T15" fmla="*/ 577 h 620"/>
                <a:gd name="T16" fmla="*/ 727 w 848"/>
                <a:gd name="T17" fmla="*/ 348 h 620"/>
                <a:gd name="T18" fmla="*/ 727 w 848"/>
                <a:gd name="T19" fmla="*/ 348 h 620"/>
                <a:gd name="T20" fmla="*/ 804 w 848"/>
                <a:gd name="T21" fmla="*/ 119 h 6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48" h="620">
                  <a:moveTo>
                    <a:pt x="804" y="119"/>
                  </a:moveTo>
                  <a:lnTo>
                    <a:pt x="804" y="119"/>
                  </a:lnTo>
                  <a:cubicBezTo>
                    <a:pt x="762" y="34"/>
                    <a:pt x="659" y="0"/>
                    <a:pt x="576" y="42"/>
                  </a:cubicBezTo>
                  <a:lnTo>
                    <a:pt x="118" y="271"/>
                  </a:lnTo>
                  <a:lnTo>
                    <a:pt x="118" y="271"/>
                  </a:lnTo>
                  <a:cubicBezTo>
                    <a:pt x="33" y="313"/>
                    <a:pt x="0" y="416"/>
                    <a:pt x="41" y="501"/>
                  </a:cubicBezTo>
                  <a:lnTo>
                    <a:pt x="41" y="501"/>
                  </a:lnTo>
                  <a:cubicBezTo>
                    <a:pt x="83" y="585"/>
                    <a:pt x="186" y="619"/>
                    <a:pt x="271" y="577"/>
                  </a:cubicBezTo>
                  <a:lnTo>
                    <a:pt x="727" y="348"/>
                  </a:lnTo>
                  <a:lnTo>
                    <a:pt x="727" y="348"/>
                  </a:lnTo>
                  <a:cubicBezTo>
                    <a:pt x="812" y="306"/>
                    <a:pt x="847" y="203"/>
                    <a:pt x="804" y="119"/>
                  </a:cubicBezTo>
                </a:path>
              </a:pathLst>
            </a:custGeom>
            <a:grpFill/>
            <a:ln>
              <a:noFill/>
            </a:ln>
            <a:effectLst/>
          </p:spPr>
          <p:txBody>
            <a:bodyPr wrap="none" anchor="ctr"/>
            <a:lstStyle/>
            <a:p>
              <a:endParaRPr lang="es-ES_tradnl"/>
            </a:p>
          </p:txBody>
        </p:sp>
        <p:sp>
          <p:nvSpPr>
            <p:cNvPr id="9" name="Freeform 41">
              <a:extLst>
                <a:ext uri="{FF2B5EF4-FFF2-40B4-BE49-F238E27FC236}">
                  <a16:creationId xmlns:a16="http://schemas.microsoft.com/office/drawing/2014/main" xmlns="" id="{21FA0EC3-42B4-4649-ABA9-97E2A72F4C3B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21030460" flipH="1">
              <a:off x="3517846" y="-1166395"/>
              <a:ext cx="286442" cy="284583"/>
            </a:xfrm>
            <a:custGeom>
              <a:avLst/>
              <a:gdLst>
                <a:gd name="T0" fmla="*/ 348 w 391"/>
                <a:gd name="T1" fmla="*/ 119 h 391"/>
                <a:gd name="T2" fmla="*/ 348 w 391"/>
                <a:gd name="T3" fmla="*/ 119 h 391"/>
                <a:gd name="T4" fmla="*/ 118 w 391"/>
                <a:gd name="T5" fmla="*/ 42 h 391"/>
                <a:gd name="T6" fmla="*/ 118 w 391"/>
                <a:gd name="T7" fmla="*/ 42 h 391"/>
                <a:gd name="T8" fmla="*/ 42 w 391"/>
                <a:gd name="T9" fmla="*/ 271 h 391"/>
                <a:gd name="T10" fmla="*/ 42 w 391"/>
                <a:gd name="T11" fmla="*/ 271 h 391"/>
                <a:gd name="T12" fmla="*/ 271 w 391"/>
                <a:gd name="T13" fmla="*/ 348 h 391"/>
                <a:gd name="T14" fmla="*/ 271 w 391"/>
                <a:gd name="T15" fmla="*/ 348 h 391"/>
                <a:gd name="T16" fmla="*/ 348 w 391"/>
                <a:gd name="T17" fmla="*/ 119 h 3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91" h="391">
                  <a:moveTo>
                    <a:pt x="348" y="119"/>
                  </a:moveTo>
                  <a:lnTo>
                    <a:pt x="348" y="119"/>
                  </a:lnTo>
                  <a:cubicBezTo>
                    <a:pt x="305" y="34"/>
                    <a:pt x="203" y="0"/>
                    <a:pt x="118" y="42"/>
                  </a:cubicBezTo>
                  <a:lnTo>
                    <a:pt x="118" y="42"/>
                  </a:lnTo>
                  <a:cubicBezTo>
                    <a:pt x="33" y="84"/>
                    <a:pt x="0" y="187"/>
                    <a:pt x="42" y="271"/>
                  </a:cubicBezTo>
                  <a:lnTo>
                    <a:pt x="42" y="271"/>
                  </a:lnTo>
                  <a:cubicBezTo>
                    <a:pt x="84" y="356"/>
                    <a:pt x="187" y="390"/>
                    <a:pt x="271" y="348"/>
                  </a:cubicBezTo>
                  <a:lnTo>
                    <a:pt x="271" y="348"/>
                  </a:lnTo>
                  <a:cubicBezTo>
                    <a:pt x="355" y="305"/>
                    <a:pt x="390" y="203"/>
                    <a:pt x="348" y="119"/>
                  </a:cubicBezTo>
                </a:path>
              </a:pathLst>
            </a:custGeom>
            <a:grpFill/>
            <a:ln>
              <a:noFill/>
            </a:ln>
            <a:effectLst/>
          </p:spPr>
          <p:txBody>
            <a:bodyPr wrap="none" anchor="ctr"/>
            <a:lstStyle/>
            <a:p>
              <a:endParaRPr lang="es-ES_tradnl"/>
            </a:p>
          </p:txBody>
        </p:sp>
        <p:sp>
          <p:nvSpPr>
            <p:cNvPr id="10" name="Freeform 42">
              <a:extLst>
                <a:ext uri="{FF2B5EF4-FFF2-40B4-BE49-F238E27FC236}">
                  <a16:creationId xmlns:a16="http://schemas.microsoft.com/office/drawing/2014/main" xmlns="" id="{15D1DAFF-F861-46FC-A681-25353A9551AC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21030460" flipH="1">
              <a:off x="10968557" y="1106599"/>
              <a:ext cx="283226" cy="284583"/>
            </a:xfrm>
            <a:custGeom>
              <a:avLst/>
              <a:gdLst>
                <a:gd name="T0" fmla="*/ 347 w 390"/>
                <a:gd name="T1" fmla="*/ 119 h 392"/>
                <a:gd name="T2" fmla="*/ 347 w 390"/>
                <a:gd name="T3" fmla="*/ 119 h 392"/>
                <a:gd name="T4" fmla="*/ 118 w 390"/>
                <a:gd name="T5" fmla="*/ 42 h 392"/>
                <a:gd name="T6" fmla="*/ 118 w 390"/>
                <a:gd name="T7" fmla="*/ 42 h 392"/>
                <a:gd name="T8" fmla="*/ 42 w 390"/>
                <a:gd name="T9" fmla="*/ 272 h 392"/>
                <a:gd name="T10" fmla="*/ 42 w 390"/>
                <a:gd name="T11" fmla="*/ 272 h 392"/>
                <a:gd name="T12" fmla="*/ 271 w 390"/>
                <a:gd name="T13" fmla="*/ 348 h 392"/>
                <a:gd name="T14" fmla="*/ 271 w 390"/>
                <a:gd name="T15" fmla="*/ 348 h 392"/>
                <a:gd name="T16" fmla="*/ 347 w 390"/>
                <a:gd name="T17" fmla="*/ 119 h 3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90" h="392">
                  <a:moveTo>
                    <a:pt x="347" y="119"/>
                  </a:moveTo>
                  <a:lnTo>
                    <a:pt x="347" y="119"/>
                  </a:lnTo>
                  <a:cubicBezTo>
                    <a:pt x="305" y="35"/>
                    <a:pt x="203" y="0"/>
                    <a:pt x="118" y="42"/>
                  </a:cubicBezTo>
                  <a:lnTo>
                    <a:pt x="118" y="42"/>
                  </a:lnTo>
                  <a:cubicBezTo>
                    <a:pt x="34" y="84"/>
                    <a:pt x="0" y="187"/>
                    <a:pt x="42" y="272"/>
                  </a:cubicBezTo>
                  <a:lnTo>
                    <a:pt x="42" y="272"/>
                  </a:lnTo>
                  <a:cubicBezTo>
                    <a:pt x="84" y="356"/>
                    <a:pt x="186" y="391"/>
                    <a:pt x="271" y="348"/>
                  </a:cubicBezTo>
                  <a:lnTo>
                    <a:pt x="271" y="348"/>
                  </a:lnTo>
                  <a:cubicBezTo>
                    <a:pt x="356" y="306"/>
                    <a:pt x="389" y="203"/>
                    <a:pt x="347" y="119"/>
                  </a:cubicBezTo>
                </a:path>
              </a:pathLst>
            </a:custGeom>
            <a:grpFill/>
            <a:ln>
              <a:noFill/>
            </a:ln>
            <a:effectLst/>
          </p:spPr>
          <p:txBody>
            <a:bodyPr wrap="none" anchor="ctr"/>
            <a:lstStyle/>
            <a:p>
              <a:endParaRPr lang="es-ES_tradnl"/>
            </a:p>
          </p:txBody>
        </p:sp>
      </p:grpSp>
      <p:grpSp>
        <p:nvGrpSpPr>
          <p:cNvPr id="11" name="Gruppieren 10">
            <a:extLst>
              <a:ext uri="{FF2B5EF4-FFF2-40B4-BE49-F238E27FC236}">
                <a16:creationId xmlns:a16="http://schemas.microsoft.com/office/drawing/2014/main" xmlns="" id="{263C4D48-6588-408D-98FC-EE0566C1B76D}"/>
              </a:ext>
            </a:extLst>
          </p:cNvPr>
          <p:cNvGrpSpPr/>
          <p:nvPr userDrawn="1"/>
        </p:nvGrpSpPr>
        <p:grpSpPr>
          <a:xfrm rot="20589661">
            <a:off x="-532038" y="-110409"/>
            <a:ext cx="7733937" cy="3072844"/>
            <a:chOff x="3517846" y="-1308843"/>
            <a:chExt cx="7733937" cy="3072844"/>
          </a:xfrm>
          <a:solidFill>
            <a:srgbClr val="66C7EE"/>
          </a:solidFill>
        </p:grpSpPr>
        <p:sp>
          <p:nvSpPr>
            <p:cNvPr id="12" name="Freeform 39">
              <a:extLst>
                <a:ext uri="{FF2B5EF4-FFF2-40B4-BE49-F238E27FC236}">
                  <a16:creationId xmlns:a16="http://schemas.microsoft.com/office/drawing/2014/main" xmlns="" id="{7D68FF0F-27DA-4114-A03A-402EA978B099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21030460" flipH="1">
              <a:off x="4815072" y="-1308843"/>
              <a:ext cx="5902672" cy="3072844"/>
            </a:xfrm>
            <a:custGeom>
              <a:avLst/>
              <a:gdLst>
                <a:gd name="T0" fmla="*/ 8043 w 8086"/>
                <a:gd name="T1" fmla="*/ 118 h 4239"/>
                <a:gd name="T2" fmla="*/ 8043 w 8086"/>
                <a:gd name="T3" fmla="*/ 118 h 4239"/>
                <a:gd name="T4" fmla="*/ 7814 w 8086"/>
                <a:gd name="T5" fmla="*/ 42 h 4239"/>
                <a:gd name="T6" fmla="*/ 119 w 8086"/>
                <a:gd name="T7" fmla="*/ 3890 h 4239"/>
                <a:gd name="T8" fmla="*/ 119 w 8086"/>
                <a:gd name="T9" fmla="*/ 3890 h 4239"/>
                <a:gd name="T10" fmla="*/ 42 w 8086"/>
                <a:gd name="T11" fmla="*/ 4120 h 4239"/>
                <a:gd name="T12" fmla="*/ 42 w 8086"/>
                <a:gd name="T13" fmla="*/ 4120 h 4239"/>
                <a:gd name="T14" fmla="*/ 272 w 8086"/>
                <a:gd name="T15" fmla="*/ 4196 h 4239"/>
                <a:gd name="T16" fmla="*/ 7967 w 8086"/>
                <a:gd name="T17" fmla="*/ 347 h 4239"/>
                <a:gd name="T18" fmla="*/ 7967 w 8086"/>
                <a:gd name="T19" fmla="*/ 347 h 4239"/>
                <a:gd name="T20" fmla="*/ 8043 w 8086"/>
                <a:gd name="T21" fmla="*/ 118 h 4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086" h="4239">
                  <a:moveTo>
                    <a:pt x="8043" y="118"/>
                  </a:moveTo>
                  <a:lnTo>
                    <a:pt x="8043" y="118"/>
                  </a:lnTo>
                  <a:cubicBezTo>
                    <a:pt x="8001" y="34"/>
                    <a:pt x="7898" y="0"/>
                    <a:pt x="7814" y="42"/>
                  </a:cubicBezTo>
                  <a:lnTo>
                    <a:pt x="119" y="3890"/>
                  </a:lnTo>
                  <a:lnTo>
                    <a:pt x="119" y="3890"/>
                  </a:lnTo>
                  <a:cubicBezTo>
                    <a:pt x="34" y="3932"/>
                    <a:pt x="0" y="4035"/>
                    <a:pt x="42" y="4120"/>
                  </a:cubicBezTo>
                  <a:lnTo>
                    <a:pt x="42" y="4120"/>
                  </a:lnTo>
                  <a:cubicBezTo>
                    <a:pt x="84" y="4204"/>
                    <a:pt x="187" y="4238"/>
                    <a:pt x="272" y="4196"/>
                  </a:cubicBezTo>
                  <a:lnTo>
                    <a:pt x="7967" y="347"/>
                  </a:lnTo>
                  <a:lnTo>
                    <a:pt x="7967" y="347"/>
                  </a:lnTo>
                  <a:cubicBezTo>
                    <a:pt x="8051" y="305"/>
                    <a:pt x="8085" y="203"/>
                    <a:pt x="8043" y="118"/>
                  </a:cubicBezTo>
                </a:path>
              </a:pathLst>
            </a:custGeom>
            <a:grpFill/>
            <a:ln>
              <a:noFill/>
            </a:ln>
            <a:effectLst/>
          </p:spPr>
          <p:txBody>
            <a:bodyPr wrap="none" anchor="ctr"/>
            <a:lstStyle/>
            <a:p>
              <a:endParaRPr lang="es-ES_tradnl"/>
            </a:p>
          </p:txBody>
        </p:sp>
        <p:sp>
          <p:nvSpPr>
            <p:cNvPr id="13" name="Freeform 40">
              <a:extLst>
                <a:ext uri="{FF2B5EF4-FFF2-40B4-BE49-F238E27FC236}">
                  <a16:creationId xmlns:a16="http://schemas.microsoft.com/office/drawing/2014/main" xmlns="" id="{24809E3C-587B-47EF-B97A-041421A5E707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21030460" flipH="1">
              <a:off x="3917855" y="-1077475"/>
              <a:ext cx="617946" cy="450856"/>
            </a:xfrm>
            <a:custGeom>
              <a:avLst/>
              <a:gdLst>
                <a:gd name="T0" fmla="*/ 804 w 848"/>
                <a:gd name="T1" fmla="*/ 119 h 620"/>
                <a:gd name="T2" fmla="*/ 804 w 848"/>
                <a:gd name="T3" fmla="*/ 119 h 620"/>
                <a:gd name="T4" fmla="*/ 576 w 848"/>
                <a:gd name="T5" fmla="*/ 42 h 620"/>
                <a:gd name="T6" fmla="*/ 118 w 848"/>
                <a:gd name="T7" fmla="*/ 271 h 620"/>
                <a:gd name="T8" fmla="*/ 118 w 848"/>
                <a:gd name="T9" fmla="*/ 271 h 620"/>
                <a:gd name="T10" fmla="*/ 41 w 848"/>
                <a:gd name="T11" fmla="*/ 501 h 620"/>
                <a:gd name="T12" fmla="*/ 41 w 848"/>
                <a:gd name="T13" fmla="*/ 501 h 620"/>
                <a:gd name="T14" fmla="*/ 271 w 848"/>
                <a:gd name="T15" fmla="*/ 577 h 620"/>
                <a:gd name="T16" fmla="*/ 727 w 848"/>
                <a:gd name="T17" fmla="*/ 348 h 620"/>
                <a:gd name="T18" fmla="*/ 727 w 848"/>
                <a:gd name="T19" fmla="*/ 348 h 620"/>
                <a:gd name="T20" fmla="*/ 804 w 848"/>
                <a:gd name="T21" fmla="*/ 119 h 6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48" h="620">
                  <a:moveTo>
                    <a:pt x="804" y="119"/>
                  </a:moveTo>
                  <a:lnTo>
                    <a:pt x="804" y="119"/>
                  </a:lnTo>
                  <a:cubicBezTo>
                    <a:pt x="762" y="34"/>
                    <a:pt x="659" y="0"/>
                    <a:pt x="576" y="42"/>
                  </a:cubicBezTo>
                  <a:lnTo>
                    <a:pt x="118" y="271"/>
                  </a:lnTo>
                  <a:lnTo>
                    <a:pt x="118" y="271"/>
                  </a:lnTo>
                  <a:cubicBezTo>
                    <a:pt x="33" y="313"/>
                    <a:pt x="0" y="416"/>
                    <a:pt x="41" y="501"/>
                  </a:cubicBezTo>
                  <a:lnTo>
                    <a:pt x="41" y="501"/>
                  </a:lnTo>
                  <a:cubicBezTo>
                    <a:pt x="83" y="585"/>
                    <a:pt x="186" y="619"/>
                    <a:pt x="271" y="577"/>
                  </a:cubicBezTo>
                  <a:lnTo>
                    <a:pt x="727" y="348"/>
                  </a:lnTo>
                  <a:lnTo>
                    <a:pt x="727" y="348"/>
                  </a:lnTo>
                  <a:cubicBezTo>
                    <a:pt x="812" y="306"/>
                    <a:pt x="847" y="203"/>
                    <a:pt x="804" y="119"/>
                  </a:cubicBezTo>
                </a:path>
              </a:pathLst>
            </a:custGeom>
            <a:grpFill/>
            <a:ln>
              <a:noFill/>
            </a:ln>
            <a:effectLst/>
          </p:spPr>
          <p:txBody>
            <a:bodyPr wrap="none" anchor="ctr"/>
            <a:lstStyle/>
            <a:p>
              <a:endParaRPr lang="es-ES_tradnl"/>
            </a:p>
          </p:txBody>
        </p:sp>
        <p:sp>
          <p:nvSpPr>
            <p:cNvPr id="14" name="Freeform 41">
              <a:extLst>
                <a:ext uri="{FF2B5EF4-FFF2-40B4-BE49-F238E27FC236}">
                  <a16:creationId xmlns:a16="http://schemas.microsoft.com/office/drawing/2014/main" xmlns="" id="{A80BA4F3-323F-48DE-9F76-9C99F8DBFC8A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21030460" flipH="1">
              <a:off x="3517846" y="-1166395"/>
              <a:ext cx="286442" cy="284583"/>
            </a:xfrm>
            <a:custGeom>
              <a:avLst/>
              <a:gdLst>
                <a:gd name="T0" fmla="*/ 348 w 391"/>
                <a:gd name="T1" fmla="*/ 119 h 391"/>
                <a:gd name="T2" fmla="*/ 348 w 391"/>
                <a:gd name="T3" fmla="*/ 119 h 391"/>
                <a:gd name="T4" fmla="*/ 118 w 391"/>
                <a:gd name="T5" fmla="*/ 42 h 391"/>
                <a:gd name="T6" fmla="*/ 118 w 391"/>
                <a:gd name="T7" fmla="*/ 42 h 391"/>
                <a:gd name="T8" fmla="*/ 42 w 391"/>
                <a:gd name="T9" fmla="*/ 271 h 391"/>
                <a:gd name="T10" fmla="*/ 42 w 391"/>
                <a:gd name="T11" fmla="*/ 271 h 391"/>
                <a:gd name="T12" fmla="*/ 271 w 391"/>
                <a:gd name="T13" fmla="*/ 348 h 391"/>
                <a:gd name="T14" fmla="*/ 271 w 391"/>
                <a:gd name="T15" fmla="*/ 348 h 391"/>
                <a:gd name="T16" fmla="*/ 348 w 391"/>
                <a:gd name="T17" fmla="*/ 119 h 3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91" h="391">
                  <a:moveTo>
                    <a:pt x="348" y="119"/>
                  </a:moveTo>
                  <a:lnTo>
                    <a:pt x="348" y="119"/>
                  </a:lnTo>
                  <a:cubicBezTo>
                    <a:pt x="305" y="34"/>
                    <a:pt x="203" y="0"/>
                    <a:pt x="118" y="42"/>
                  </a:cubicBezTo>
                  <a:lnTo>
                    <a:pt x="118" y="42"/>
                  </a:lnTo>
                  <a:cubicBezTo>
                    <a:pt x="33" y="84"/>
                    <a:pt x="0" y="187"/>
                    <a:pt x="42" y="271"/>
                  </a:cubicBezTo>
                  <a:lnTo>
                    <a:pt x="42" y="271"/>
                  </a:lnTo>
                  <a:cubicBezTo>
                    <a:pt x="84" y="356"/>
                    <a:pt x="187" y="390"/>
                    <a:pt x="271" y="348"/>
                  </a:cubicBezTo>
                  <a:lnTo>
                    <a:pt x="271" y="348"/>
                  </a:lnTo>
                  <a:cubicBezTo>
                    <a:pt x="355" y="305"/>
                    <a:pt x="390" y="203"/>
                    <a:pt x="348" y="119"/>
                  </a:cubicBezTo>
                </a:path>
              </a:pathLst>
            </a:custGeom>
            <a:grpFill/>
            <a:ln>
              <a:noFill/>
            </a:ln>
            <a:effectLst/>
          </p:spPr>
          <p:txBody>
            <a:bodyPr wrap="none" anchor="ctr"/>
            <a:lstStyle/>
            <a:p>
              <a:endParaRPr lang="es-ES_tradnl"/>
            </a:p>
          </p:txBody>
        </p:sp>
        <p:sp>
          <p:nvSpPr>
            <p:cNvPr id="15" name="Freeform 42">
              <a:extLst>
                <a:ext uri="{FF2B5EF4-FFF2-40B4-BE49-F238E27FC236}">
                  <a16:creationId xmlns:a16="http://schemas.microsoft.com/office/drawing/2014/main" xmlns="" id="{C490DD0E-0A86-416D-B1B4-2CFE5FDB5BB7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21030460" flipH="1">
              <a:off x="10968557" y="1106599"/>
              <a:ext cx="283226" cy="284583"/>
            </a:xfrm>
            <a:custGeom>
              <a:avLst/>
              <a:gdLst>
                <a:gd name="T0" fmla="*/ 347 w 390"/>
                <a:gd name="T1" fmla="*/ 119 h 392"/>
                <a:gd name="T2" fmla="*/ 347 w 390"/>
                <a:gd name="T3" fmla="*/ 119 h 392"/>
                <a:gd name="T4" fmla="*/ 118 w 390"/>
                <a:gd name="T5" fmla="*/ 42 h 392"/>
                <a:gd name="T6" fmla="*/ 118 w 390"/>
                <a:gd name="T7" fmla="*/ 42 h 392"/>
                <a:gd name="T8" fmla="*/ 42 w 390"/>
                <a:gd name="T9" fmla="*/ 272 h 392"/>
                <a:gd name="T10" fmla="*/ 42 w 390"/>
                <a:gd name="T11" fmla="*/ 272 h 392"/>
                <a:gd name="T12" fmla="*/ 271 w 390"/>
                <a:gd name="T13" fmla="*/ 348 h 392"/>
                <a:gd name="T14" fmla="*/ 271 w 390"/>
                <a:gd name="T15" fmla="*/ 348 h 392"/>
                <a:gd name="T16" fmla="*/ 347 w 390"/>
                <a:gd name="T17" fmla="*/ 119 h 3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90" h="392">
                  <a:moveTo>
                    <a:pt x="347" y="119"/>
                  </a:moveTo>
                  <a:lnTo>
                    <a:pt x="347" y="119"/>
                  </a:lnTo>
                  <a:cubicBezTo>
                    <a:pt x="305" y="35"/>
                    <a:pt x="203" y="0"/>
                    <a:pt x="118" y="42"/>
                  </a:cubicBezTo>
                  <a:lnTo>
                    <a:pt x="118" y="42"/>
                  </a:lnTo>
                  <a:cubicBezTo>
                    <a:pt x="34" y="84"/>
                    <a:pt x="0" y="187"/>
                    <a:pt x="42" y="272"/>
                  </a:cubicBezTo>
                  <a:lnTo>
                    <a:pt x="42" y="272"/>
                  </a:lnTo>
                  <a:cubicBezTo>
                    <a:pt x="84" y="356"/>
                    <a:pt x="186" y="391"/>
                    <a:pt x="271" y="348"/>
                  </a:cubicBezTo>
                  <a:lnTo>
                    <a:pt x="271" y="348"/>
                  </a:lnTo>
                  <a:cubicBezTo>
                    <a:pt x="356" y="306"/>
                    <a:pt x="389" y="203"/>
                    <a:pt x="347" y="119"/>
                  </a:cubicBezTo>
                </a:path>
              </a:pathLst>
            </a:custGeom>
            <a:grpFill/>
            <a:ln>
              <a:noFill/>
            </a:ln>
            <a:effectLst/>
          </p:spPr>
          <p:txBody>
            <a:bodyPr wrap="none" anchor="ctr"/>
            <a:lstStyle/>
            <a:p>
              <a:endParaRPr lang="es-ES_tradnl"/>
            </a:p>
          </p:txBody>
        </p:sp>
      </p:grpSp>
    </p:spTree>
    <p:extLst>
      <p:ext uri="{BB962C8B-B14F-4D97-AF65-F5344CB8AC3E}">
        <p14:creationId xmlns:p14="http://schemas.microsoft.com/office/powerpoint/2010/main" val="433208927"/>
      </p:ext>
    </p:extLst>
  </p:cSld>
  <p:clrMapOvr>
    <a:masterClrMapping/>
  </p:clrMapOvr>
  <p:extLst>
    <p:ext uri="{DCECCB84-F9BA-43D5-87BE-67443E8EF086}">
      <p15:sldGuideLst xmlns:p15="http://schemas.microsoft.com/office/powerpoint/2012/main" xmlns="">
        <p15:guide id="1" orient="horz" pos="391">
          <p15:clr>
            <a:srgbClr val="FBAE40"/>
          </p15:clr>
        </p15:guide>
        <p15:guide id="3" pos="3840">
          <p15:clr>
            <a:srgbClr val="FBAE40"/>
          </p15:clr>
        </p15:guide>
        <p15:guide id="4" pos="438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Überschrift und zwei Textblöck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5E8BE331-C93C-4A62-8706-E5CDAF2B355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6000" y="576000"/>
            <a:ext cx="10515600" cy="427877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3200" baseline="0">
                <a:solidFill>
                  <a:srgbClr val="FFFFFF"/>
                </a:solidFill>
                <a:latin typeface="Roboto Medium" panose="02000000000000000000" pitchFamily="2" charset="0"/>
                <a:ea typeface="Roboto Medium" panose="02000000000000000000" pitchFamily="2" charset="0"/>
              </a:defRPr>
            </a:lvl1pPr>
          </a:lstStyle>
          <a:p>
            <a:r>
              <a:rPr lang="en-US" dirty="0" err="1"/>
              <a:t>Hier</a:t>
            </a:r>
            <a:r>
              <a:rPr lang="en-US" dirty="0"/>
              <a:t> </a:t>
            </a:r>
            <a:r>
              <a:rPr lang="en-US" dirty="0" err="1"/>
              <a:t>könnte</a:t>
            </a:r>
            <a:r>
              <a:rPr lang="en-US" dirty="0"/>
              <a:t> </a:t>
            </a:r>
            <a:r>
              <a:rPr lang="en-US" dirty="0" err="1"/>
              <a:t>Ihre</a:t>
            </a:r>
            <a:r>
              <a:rPr lang="en-US" dirty="0"/>
              <a:t> </a:t>
            </a:r>
            <a:r>
              <a:rPr lang="en-US" dirty="0" err="1"/>
              <a:t>Überschrift</a:t>
            </a:r>
            <a:r>
              <a:rPr lang="en-US" dirty="0"/>
              <a:t> </a:t>
            </a:r>
            <a:r>
              <a:rPr lang="en-US" dirty="0" err="1"/>
              <a:t>stehen</a:t>
            </a:r>
            <a:endParaRPr lang="en-IN" dirty="0"/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xmlns="" id="{A446D049-F822-4B92-BFB6-EE0B8087C4C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05496" y="1728000"/>
            <a:ext cx="4409828" cy="330864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None/>
              <a:defRPr lang="en-IN" sz="2000" kern="1200" dirty="0">
                <a:solidFill>
                  <a:schemeClr val="accent5"/>
                </a:solidFill>
                <a:latin typeface="Roboto Cn" pitchFamily="2" charset="0"/>
                <a:ea typeface="Roboto Cn" pitchFamily="2" charset="0"/>
                <a:cs typeface="+mn-cs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 err="1"/>
              <a:t>Folien</a:t>
            </a:r>
            <a:r>
              <a:rPr lang="en-US" dirty="0"/>
              <a:t> </a:t>
            </a:r>
            <a:r>
              <a:rPr lang="en-US" dirty="0" err="1"/>
              <a:t>mit</a:t>
            </a:r>
            <a:r>
              <a:rPr lang="en-US" dirty="0"/>
              <a:t> </a:t>
            </a:r>
            <a:r>
              <a:rPr lang="en-US" dirty="0" err="1"/>
              <a:t>zwei</a:t>
            </a:r>
            <a:r>
              <a:rPr lang="en-US" dirty="0"/>
              <a:t> </a:t>
            </a:r>
            <a:r>
              <a:rPr lang="en-US" dirty="0" err="1"/>
              <a:t>Textblöcken</a:t>
            </a:r>
            <a:endParaRPr lang="en-IN" dirty="0"/>
          </a:p>
        </p:txBody>
      </p:sp>
      <p:cxnSp>
        <p:nvCxnSpPr>
          <p:cNvPr id="12" name="Gerader Verbinder 11"/>
          <p:cNvCxnSpPr/>
          <p:nvPr userDrawn="1"/>
        </p:nvCxnSpPr>
        <p:spPr>
          <a:xfrm>
            <a:off x="695325" y="2160000"/>
            <a:ext cx="4320000" cy="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14" name="Gerader Verbinder 13"/>
          <p:cNvCxnSpPr/>
          <p:nvPr userDrawn="1"/>
        </p:nvCxnSpPr>
        <p:spPr>
          <a:xfrm>
            <a:off x="6088319" y="2160000"/>
            <a:ext cx="4320000" cy="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29" name="Textplatzhalter 28"/>
          <p:cNvSpPr>
            <a:spLocks noGrp="1"/>
          </p:cNvSpPr>
          <p:nvPr>
            <p:ph type="body" sz="quarter" idx="10" hasCustomPrompt="1"/>
          </p:nvPr>
        </p:nvSpPr>
        <p:spPr>
          <a:xfrm>
            <a:off x="605495" y="2340000"/>
            <a:ext cx="4409829" cy="3348909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lang="de-DE" sz="1600" kern="1200" dirty="0" smtClean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+mn-cs"/>
              </a:defRPr>
            </a:lvl1pPr>
            <a:lvl2pPr marL="457200" indent="0">
              <a:buFontTx/>
              <a:buNone/>
              <a:defRPr lang="de-DE" sz="1600" kern="1200" dirty="0" smtClean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+mn-cs"/>
              </a:defRPr>
            </a:lvl2pPr>
            <a:lvl3pPr>
              <a:buFontTx/>
              <a:buNone/>
              <a:defRPr lang="de-DE" sz="1600" kern="1200" dirty="0" smtClean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+mn-cs"/>
              </a:defRPr>
            </a:lvl3pPr>
            <a:lvl4pPr>
              <a:defRPr lang="de-DE" sz="1600" kern="1200" dirty="0" smtClean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+mn-cs"/>
              </a:defRPr>
            </a:lvl4pPr>
          </a:lstStyle>
          <a:p>
            <a:pPr>
              <a:lnSpc>
                <a:spcPts val="2400"/>
              </a:lnSpc>
            </a:pP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Lorem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ipsum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dolor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sit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amet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,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consetetur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sadipscing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elitr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,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sed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diam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nonumy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eirmod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tempor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invidunt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ut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labore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 et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dolore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 magna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aliquyam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erat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,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sed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diam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voluptua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. At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vero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eos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 et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accusam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 et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justo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duo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utseter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dolores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 et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ea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rebum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. </a:t>
            </a:r>
            <a:b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</a:b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/>
            </a:r>
            <a:b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</a:b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Stet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clita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kasd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gubergren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,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no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sea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takimata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 sanctus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est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Lorem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ipsum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dolor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sit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amet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.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Lorem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ipsum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dolor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 at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sit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amet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.</a:t>
            </a:r>
            <a:r>
              <a:rPr lang="de-DE" sz="1600" baseline="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Tempor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invidunt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ut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labore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 et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dolore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 magna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aliquyam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erat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,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sed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diam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voluptua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.</a:t>
            </a:r>
          </a:p>
        </p:txBody>
      </p:sp>
      <p:sp>
        <p:nvSpPr>
          <p:cNvPr id="31" name="Textplatzhalter 30"/>
          <p:cNvSpPr>
            <a:spLocks noGrp="1"/>
          </p:cNvSpPr>
          <p:nvPr>
            <p:ph type="body" sz="quarter" idx="11" hasCustomPrompt="1"/>
          </p:nvPr>
        </p:nvSpPr>
        <p:spPr>
          <a:xfrm>
            <a:off x="5999575" y="2340000"/>
            <a:ext cx="4408744" cy="3348909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lang="de-DE" sz="1600" kern="1200" smtClean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+mn-cs"/>
              </a:defRPr>
            </a:lvl1pPr>
            <a:lvl2pPr marL="457200" indent="0">
              <a:buFontTx/>
              <a:buNone/>
              <a:defRPr lang="de-DE" sz="1600" kern="1200" smtClean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+mn-cs"/>
              </a:defRPr>
            </a:lvl2pPr>
            <a:lvl3pPr>
              <a:buFontTx/>
              <a:buNone/>
              <a:defRPr lang="de-DE" sz="1600" kern="1200" smtClean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+mn-cs"/>
              </a:defRPr>
            </a:lvl3pPr>
            <a:lvl4pPr marL="1371600" indent="0">
              <a:buFontTx/>
              <a:buNone/>
              <a:defRPr lang="de-DE" sz="1600" kern="1200" smtClean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+mn-cs"/>
              </a:defRPr>
            </a:lvl4pPr>
            <a:lvl5pPr marL="1828800" indent="0">
              <a:buFontTx/>
              <a:buNone/>
              <a:defRPr lang="de-DE" sz="1600" kern="12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+mn-cs"/>
              </a:defRPr>
            </a:lvl5pPr>
          </a:lstStyle>
          <a:p>
            <a:pPr>
              <a:lnSpc>
                <a:spcPts val="2400"/>
              </a:lnSpc>
            </a:pP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Lorem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ipsum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dolor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sit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amet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,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consetetur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sadipscing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elitr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,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sed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diam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nonumy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eirmod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tempor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invidunt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ut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labore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 et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dolore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 magna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aliquyam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erat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,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sed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diam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voluptua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. At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vero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eos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 et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accusam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 et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justo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duo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dolores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 et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ea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rebum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.</a:t>
            </a:r>
            <a:r>
              <a:rPr lang="de-DE" sz="1600" baseline="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Lorem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ipsum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dolor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,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consetetur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sadipscing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elitr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,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sed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diam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nonumy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eirmod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tempor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invidunt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ut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labore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 et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dolore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 magna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aliquyam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erat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,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sed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diam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voluptua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. At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vero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eos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 et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accusam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 et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justo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duo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dolores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 et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ea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rebum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. Stet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clita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kasd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gubergren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,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no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sea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takimata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est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Lorem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ipsum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dolor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sit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amet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.</a:t>
            </a:r>
          </a:p>
        </p:txBody>
      </p:sp>
      <p:sp>
        <p:nvSpPr>
          <p:cNvPr id="33" name="Textplatzhalter 32"/>
          <p:cNvSpPr>
            <a:spLocks noGrp="1"/>
          </p:cNvSpPr>
          <p:nvPr>
            <p:ph type="body" sz="quarter" idx="12" hasCustomPrompt="1"/>
          </p:nvPr>
        </p:nvSpPr>
        <p:spPr>
          <a:xfrm>
            <a:off x="5999575" y="1728000"/>
            <a:ext cx="4408744" cy="403225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lang="de-DE" sz="2000" kern="1200" dirty="0" smtClean="0">
                <a:solidFill>
                  <a:schemeClr val="accent5"/>
                </a:solidFill>
                <a:latin typeface="Roboto Cn" pitchFamily="2" charset="0"/>
                <a:ea typeface="Roboto Cn" pitchFamily="2" charset="0"/>
                <a:cs typeface="+mn-cs"/>
              </a:defRPr>
            </a:lvl1pPr>
            <a:lvl2pPr>
              <a:defRPr lang="de-DE" sz="2000" kern="1200" dirty="0" smtClean="0">
                <a:solidFill>
                  <a:schemeClr val="accent5"/>
                </a:solidFill>
                <a:latin typeface="Roboto Cn" pitchFamily="2" charset="0"/>
                <a:ea typeface="Roboto Cn" pitchFamily="2" charset="0"/>
                <a:cs typeface="+mn-cs"/>
              </a:defRPr>
            </a:lvl2pPr>
            <a:lvl3pPr>
              <a:defRPr lang="de-DE" sz="2000" kern="1200" dirty="0" smtClean="0">
                <a:solidFill>
                  <a:schemeClr val="accent5"/>
                </a:solidFill>
                <a:latin typeface="Roboto Cn" pitchFamily="2" charset="0"/>
                <a:ea typeface="Roboto Cn" pitchFamily="2" charset="0"/>
                <a:cs typeface="+mn-cs"/>
              </a:defRPr>
            </a:lvl3pPr>
            <a:lvl4pPr>
              <a:defRPr lang="de-DE" sz="2000" kern="1200" dirty="0" smtClean="0">
                <a:solidFill>
                  <a:schemeClr val="accent5"/>
                </a:solidFill>
                <a:latin typeface="Roboto Cn" pitchFamily="2" charset="0"/>
                <a:ea typeface="Roboto Cn" pitchFamily="2" charset="0"/>
                <a:cs typeface="+mn-cs"/>
              </a:defRPr>
            </a:lvl4pPr>
            <a:lvl5pPr>
              <a:defRPr lang="de-DE" sz="2000" kern="1200" dirty="0">
                <a:solidFill>
                  <a:schemeClr val="accent5"/>
                </a:solidFill>
                <a:latin typeface="Roboto Cn" pitchFamily="2" charset="0"/>
                <a:ea typeface="Roboto Cn" pitchFamily="2" charset="0"/>
                <a:cs typeface="+mn-cs"/>
              </a:defRPr>
            </a:lvl5pPr>
          </a:lstStyle>
          <a:p>
            <a:pPr lvl="0"/>
            <a:r>
              <a:rPr lang="de-DE" dirty="0"/>
              <a:t>Überschrift kurz</a:t>
            </a:r>
          </a:p>
        </p:txBody>
      </p:sp>
    </p:spTree>
    <p:extLst>
      <p:ext uri="{BB962C8B-B14F-4D97-AF65-F5344CB8AC3E}">
        <p14:creationId xmlns:p14="http://schemas.microsoft.com/office/powerpoint/2010/main" val="4180610982"/>
      </p:ext>
    </p:extLst>
  </p:cSld>
  <p:clrMapOvr>
    <a:masterClrMapping/>
  </p:clrMapOvr>
  <p:extLst>
    <p:ext uri="{DCECCB84-F9BA-43D5-87BE-67443E8EF086}">
      <p15:sldGuideLst xmlns:p15="http://schemas.microsoft.com/office/powerpoint/2012/main" xmlns="">
        <p15:guide id="1" orient="horz" pos="391" userDrawn="1">
          <p15:clr>
            <a:srgbClr val="FBAE40"/>
          </p15:clr>
        </p15:guide>
        <p15:guide id="3" pos="3840" userDrawn="1">
          <p15:clr>
            <a:srgbClr val="FBAE40"/>
          </p15:clr>
        </p15:guide>
        <p15:guide id="4" pos="438" userDrawn="1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intergrund dunkelblau">
    <p:bg>
      <p:bgPr>
        <a:solidFill>
          <a:srgbClr val="002B6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5E8BE331-C93C-4A62-8706-E5CDAF2B355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6000" y="576000"/>
            <a:ext cx="10515600" cy="427877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3200" baseline="0">
                <a:solidFill>
                  <a:srgbClr val="FFFFFF"/>
                </a:solidFill>
                <a:latin typeface="Roboto Medium" panose="02000000000000000000" pitchFamily="2" charset="0"/>
                <a:ea typeface="Roboto Medium" panose="02000000000000000000" pitchFamily="2" charset="0"/>
              </a:defRPr>
            </a:lvl1pPr>
          </a:lstStyle>
          <a:p>
            <a:r>
              <a:rPr lang="en-US" dirty="0" err="1"/>
              <a:t>Hier</a:t>
            </a:r>
            <a:r>
              <a:rPr lang="en-US" dirty="0"/>
              <a:t> </a:t>
            </a:r>
            <a:r>
              <a:rPr lang="en-US" dirty="0" err="1"/>
              <a:t>steht</a:t>
            </a:r>
            <a:r>
              <a:rPr lang="en-US" dirty="0"/>
              <a:t> </a:t>
            </a:r>
            <a:r>
              <a:rPr lang="en-US" dirty="0" err="1"/>
              <a:t>eine</a:t>
            </a:r>
            <a:r>
              <a:rPr lang="en-US" dirty="0"/>
              <a:t> </a:t>
            </a:r>
            <a:r>
              <a:rPr lang="en-US" dirty="0" err="1"/>
              <a:t>Überschrift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440836912"/>
      </p:ext>
    </p:extLst>
  </p:cSld>
  <p:clrMapOvr>
    <a:masterClrMapping/>
  </p:clrMapOvr>
  <p:extLst>
    <p:ext uri="{DCECCB84-F9BA-43D5-87BE-67443E8EF086}">
      <p15:sldGuideLst xmlns:p15="http://schemas.microsoft.com/office/powerpoint/2012/main" xmlns="">
        <p15:guide id="1" orient="horz" pos="391">
          <p15:clr>
            <a:srgbClr val="FBAE40"/>
          </p15:clr>
        </p15:guide>
        <p15:guide id="3" pos="3840">
          <p15:clr>
            <a:srgbClr val="FBAE40"/>
          </p15:clr>
        </p15:guide>
        <p15:guide id="4" pos="438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Überschrift 1 Kasten dunkelblau">
    <p:bg>
      <p:bgPr>
        <a:solidFill>
          <a:srgbClr val="002B6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5E8BE331-C93C-4A62-8706-E5CDAF2B355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6000" y="576000"/>
            <a:ext cx="10515600" cy="427877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3200" baseline="0">
                <a:solidFill>
                  <a:srgbClr val="FFFFFF"/>
                </a:solidFill>
                <a:latin typeface="Roboto Medium" panose="02000000000000000000" pitchFamily="2" charset="0"/>
                <a:ea typeface="Roboto Medium" panose="02000000000000000000" pitchFamily="2" charset="0"/>
              </a:defRPr>
            </a:lvl1pPr>
          </a:lstStyle>
          <a:p>
            <a:r>
              <a:rPr lang="en-US" dirty="0" err="1"/>
              <a:t>Hier</a:t>
            </a:r>
            <a:r>
              <a:rPr lang="en-US" dirty="0"/>
              <a:t> </a:t>
            </a:r>
            <a:r>
              <a:rPr lang="en-US" dirty="0" err="1"/>
              <a:t>steht</a:t>
            </a:r>
            <a:r>
              <a:rPr lang="en-US" dirty="0"/>
              <a:t> </a:t>
            </a:r>
            <a:r>
              <a:rPr lang="en-US" dirty="0" err="1"/>
              <a:t>eine</a:t>
            </a:r>
            <a:r>
              <a:rPr lang="en-US" dirty="0"/>
              <a:t> </a:t>
            </a:r>
            <a:r>
              <a:rPr lang="en-US" dirty="0" err="1"/>
              <a:t>Überschrift</a:t>
            </a:r>
            <a:endParaRPr lang="en-IN" dirty="0"/>
          </a:p>
        </p:txBody>
      </p:sp>
      <p:sp>
        <p:nvSpPr>
          <p:cNvPr id="3" name="Rectangle: Rounded Corners 50">
            <a:extLst>
              <a:ext uri="{FF2B5EF4-FFF2-40B4-BE49-F238E27FC236}">
                <a16:creationId xmlns:a16="http://schemas.microsoft.com/office/drawing/2014/main" xmlns="" id="{3406F4AB-8983-49CC-82A7-DBB2BF95FFD7}"/>
              </a:ext>
            </a:extLst>
          </p:cNvPr>
          <p:cNvSpPr/>
          <p:nvPr userDrawn="1"/>
        </p:nvSpPr>
        <p:spPr>
          <a:xfrm>
            <a:off x="692376" y="1739160"/>
            <a:ext cx="9735417" cy="3938829"/>
          </a:xfrm>
          <a:prstGeom prst="roundRect">
            <a:avLst>
              <a:gd name="adj" fmla="val 5840"/>
            </a:avLst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grpSp>
        <p:nvGrpSpPr>
          <p:cNvPr id="4" name="Gruppieren 3">
            <a:extLst>
              <a:ext uri="{FF2B5EF4-FFF2-40B4-BE49-F238E27FC236}">
                <a16:creationId xmlns:a16="http://schemas.microsoft.com/office/drawing/2014/main" xmlns="" id="{63E1D49C-393F-4FC0-8715-0CC96FDE0C3D}"/>
              </a:ext>
            </a:extLst>
          </p:cNvPr>
          <p:cNvGrpSpPr/>
          <p:nvPr userDrawn="1"/>
        </p:nvGrpSpPr>
        <p:grpSpPr>
          <a:xfrm rot="20589661">
            <a:off x="5171585" y="-95236"/>
            <a:ext cx="7733937" cy="3072844"/>
            <a:chOff x="3517846" y="-1308843"/>
            <a:chExt cx="7733937" cy="3072844"/>
          </a:xfrm>
        </p:grpSpPr>
        <p:sp>
          <p:nvSpPr>
            <p:cNvPr id="5" name="Freeform 39">
              <a:extLst>
                <a:ext uri="{FF2B5EF4-FFF2-40B4-BE49-F238E27FC236}">
                  <a16:creationId xmlns:a16="http://schemas.microsoft.com/office/drawing/2014/main" xmlns="" id="{A6434A32-9226-4A55-B796-F597A601A40E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21030460" flipH="1">
              <a:off x="4815072" y="-1308843"/>
              <a:ext cx="5902672" cy="3072844"/>
            </a:xfrm>
            <a:custGeom>
              <a:avLst/>
              <a:gdLst>
                <a:gd name="T0" fmla="*/ 8043 w 8086"/>
                <a:gd name="T1" fmla="*/ 118 h 4239"/>
                <a:gd name="T2" fmla="*/ 8043 w 8086"/>
                <a:gd name="T3" fmla="*/ 118 h 4239"/>
                <a:gd name="T4" fmla="*/ 7814 w 8086"/>
                <a:gd name="T5" fmla="*/ 42 h 4239"/>
                <a:gd name="T6" fmla="*/ 119 w 8086"/>
                <a:gd name="T7" fmla="*/ 3890 h 4239"/>
                <a:gd name="T8" fmla="*/ 119 w 8086"/>
                <a:gd name="T9" fmla="*/ 3890 h 4239"/>
                <a:gd name="T10" fmla="*/ 42 w 8086"/>
                <a:gd name="T11" fmla="*/ 4120 h 4239"/>
                <a:gd name="T12" fmla="*/ 42 w 8086"/>
                <a:gd name="T13" fmla="*/ 4120 h 4239"/>
                <a:gd name="T14" fmla="*/ 272 w 8086"/>
                <a:gd name="T15" fmla="*/ 4196 h 4239"/>
                <a:gd name="T16" fmla="*/ 7967 w 8086"/>
                <a:gd name="T17" fmla="*/ 347 h 4239"/>
                <a:gd name="T18" fmla="*/ 7967 w 8086"/>
                <a:gd name="T19" fmla="*/ 347 h 4239"/>
                <a:gd name="T20" fmla="*/ 8043 w 8086"/>
                <a:gd name="T21" fmla="*/ 118 h 4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086" h="4239">
                  <a:moveTo>
                    <a:pt x="8043" y="118"/>
                  </a:moveTo>
                  <a:lnTo>
                    <a:pt x="8043" y="118"/>
                  </a:lnTo>
                  <a:cubicBezTo>
                    <a:pt x="8001" y="34"/>
                    <a:pt x="7898" y="0"/>
                    <a:pt x="7814" y="42"/>
                  </a:cubicBezTo>
                  <a:lnTo>
                    <a:pt x="119" y="3890"/>
                  </a:lnTo>
                  <a:lnTo>
                    <a:pt x="119" y="3890"/>
                  </a:lnTo>
                  <a:cubicBezTo>
                    <a:pt x="34" y="3932"/>
                    <a:pt x="0" y="4035"/>
                    <a:pt x="42" y="4120"/>
                  </a:cubicBezTo>
                  <a:lnTo>
                    <a:pt x="42" y="4120"/>
                  </a:lnTo>
                  <a:cubicBezTo>
                    <a:pt x="84" y="4204"/>
                    <a:pt x="187" y="4238"/>
                    <a:pt x="272" y="4196"/>
                  </a:cubicBezTo>
                  <a:lnTo>
                    <a:pt x="7967" y="347"/>
                  </a:lnTo>
                  <a:lnTo>
                    <a:pt x="7967" y="347"/>
                  </a:lnTo>
                  <a:cubicBezTo>
                    <a:pt x="8051" y="305"/>
                    <a:pt x="8085" y="203"/>
                    <a:pt x="8043" y="118"/>
                  </a:cubicBezTo>
                </a:path>
              </a:pathLst>
            </a:custGeom>
            <a:solidFill>
              <a:schemeClr val="accent2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s-ES_tradnl"/>
            </a:p>
          </p:txBody>
        </p:sp>
        <p:sp>
          <p:nvSpPr>
            <p:cNvPr id="6" name="Freeform 40">
              <a:extLst>
                <a:ext uri="{FF2B5EF4-FFF2-40B4-BE49-F238E27FC236}">
                  <a16:creationId xmlns:a16="http://schemas.microsoft.com/office/drawing/2014/main" xmlns="" id="{AB2C2C64-0AA0-4272-994B-43977379D59D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21030460" flipH="1">
              <a:off x="3917855" y="-1077475"/>
              <a:ext cx="617946" cy="450856"/>
            </a:xfrm>
            <a:custGeom>
              <a:avLst/>
              <a:gdLst>
                <a:gd name="T0" fmla="*/ 804 w 848"/>
                <a:gd name="T1" fmla="*/ 119 h 620"/>
                <a:gd name="T2" fmla="*/ 804 w 848"/>
                <a:gd name="T3" fmla="*/ 119 h 620"/>
                <a:gd name="T4" fmla="*/ 576 w 848"/>
                <a:gd name="T5" fmla="*/ 42 h 620"/>
                <a:gd name="T6" fmla="*/ 118 w 848"/>
                <a:gd name="T7" fmla="*/ 271 h 620"/>
                <a:gd name="T8" fmla="*/ 118 w 848"/>
                <a:gd name="T9" fmla="*/ 271 h 620"/>
                <a:gd name="T10" fmla="*/ 41 w 848"/>
                <a:gd name="T11" fmla="*/ 501 h 620"/>
                <a:gd name="T12" fmla="*/ 41 w 848"/>
                <a:gd name="T13" fmla="*/ 501 h 620"/>
                <a:gd name="T14" fmla="*/ 271 w 848"/>
                <a:gd name="T15" fmla="*/ 577 h 620"/>
                <a:gd name="T16" fmla="*/ 727 w 848"/>
                <a:gd name="T17" fmla="*/ 348 h 620"/>
                <a:gd name="T18" fmla="*/ 727 w 848"/>
                <a:gd name="T19" fmla="*/ 348 h 620"/>
                <a:gd name="T20" fmla="*/ 804 w 848"/>
                <a:gd name="T21" fmla="*/ 119 h 6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48" h="620">
                  <a:moveTo>
                    <a:pt x="804" y="119"/>
                  </a:moveTo>
                  <a:lnTo>
                    <a:pt x="804" y="119"/>
                  </a:lnTo>
                  <a:cubicBezTo>
                    <a:pt x="762" y="34"/>
                    <a:pt x="659" y="0"/>
                    <a:pt x="576" y="42"/>
                  </a:cubicBezTo>
                  <a:lnTo>
                    <a:pt x="118" y="271"/>
                  </a:lnTo>
                  <a:lnTo>
                    <a:pt x="118" y="271"/>
                  </a:lnTo>
                  <a:cubicBezTo>
                    <a:pt x="33" y="313"/>
                    <a:pt x="0" y="416"/>
                    <a:pt x="41" y="501"/>
                  </a:cubicBezTo>
                  <a:lnTo>
                    <a:pt x="41" y="501"/>
                  </a:lnTo>
                  <a:cubicBezTo>
                    <a:pt x="83" y="585"/>
                    <a:pt x="186" y="619"/>
                    <a:pt x="271" y="577"/>
                  </a:cubicBezTo>
                  <a:lnTo>
                    <a:pt x="727" y="348"/>
                  </a:lnTo>
                  <a:lnTo>
                    <a:pt x="727" y="348"/>
                  </a:lnTo>
                  <a:cubicBezTo>
                    <a:pt x="812" y="306"/>
                    <a:pt x="847" y="203"/>
                    <a:pt x="804" y="119"/>
                  </a:cubicBezTo>
                </a:path>
              </a:pathLst>
            </a:custGeom>
            <a:solidFill>
              <a:schemeClr val="accent2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s-ES_tradnl"/>
            </a:p>
          </p:txBody>
        </p:sp>
        <p:sp>
          <p:nvSpPr>
            <p:cNvPr id="7" name="Freeform 41">
              <a:extLst>
                <a:ext uri="{FF2B5EF4-FFF2-40B4-BE49-F238E27FC236}">
                  <a16:creationId xmlns:a16="http://schemas.microsoft.com/office/drawing/2014/main" xmlns="" id="{0E1C1514-95C5-4D49-9301-812D534E4036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21030460" flipH="1">
              <a:off x="3517846" y="-1166395"/>
              <a:ext cx="286442" cy="284583"/>
            </a:xfrm>
            <a:custGeom>
              <a:avLst/>
              <a:gdLst>
                <a:gd name="T0" fmla="*/ 348 w 391"/>
                <a:gd name="T1" fmla="*/ 119 h 391"/>
                <a:gd name="T2" fmla="*/ 348 w 391"/>
                <a:gd name="T3" fmla="*/ 119 h 391"/>
                <a:gd name="T4" fmla="*/ 118 w 391"/>
                <a:gd name="T5" fmla="*/ 42 h 391"/>
                <a:gd name="T6" fmla="*/ 118 w 391"/>
                <a:gd name="T7" fmla="*/ 42 h 391"/>
                <a:gd name="T8" fmla="*/ 42 w 391"/>
                <a:gd name="T9" fmla="*/ 271 h 391"/>
                <a:gd name="T10" fmla="*/ 42 w 391"/>
                <a:gd name="T11" fmla="*/ 271 h 391"/>
                <a:gd name="T12" fmla="*/ 271 w 391"/>
                <a:gd name="T13" fmla="*/ 348 h 391"/>
                <a:gd name="T14" fmla="*/ 271 w 391"/>
                <a:gd name="T15" fmla="*/ 348 h 391"/>
                <a:gd name="T16" fmla="*/ 348 w 391"/>
                <a:gd name="T17" fmla="*/ 119 h 3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91" h="391">
                  <a:moveTo>
                    <a:pt x="348" y="119"/>
                  </a:moveTo>
                  <a:lnTo>
                    <a:pt x="348" y="119"/>
                  </a:lnTo>
                  <a:cubicBezTo>
                    <a:pt x="305" y="34"/>
                    <a:pt x="203" y="0"/>
                    <a:pt x="118" y="42"/>
                  </a:cubicBezTo>
                  <a:lnTo>
                    <a:pt x="118" y="42"/>
                  </a:lnTo>
                  <a:cubicBezTo>
                    <a:pt x="33" y="84"/>
                    <a:pt x="0" y="187"/>
                    <a:pt x="42" y="271"/>
                  </a:cubicBezTo>
                  <a:lnTo>
                    <a:pt x="42" y="271"/>
                  </a:lnTo>
                  <a:cubicBezTo>
                    <a:pt x="84" y="356"/>
                    <a:pt x="187" y="390"/>
                    <a:pt x="271" y="348"/>
                  </a:cubicBezTo>
                  <a:lnTo>
                    <a:pt x="271" y="348"/>
                  </a:lnTo>
                  <a:cubicBezTo>
                    <a:pt x="355" y="305"/>
                    <a:pt x="390" y="203"/>
                    <a:pt x="348" y="119"/>
                  </a:cubicBezTo>
                </a:path>
              </a:pathLst>
            </a:custGeom>
            <a:solidFill>
              <a:schemeClr val="accent2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s-ES_tradnl"/>
            </a:p>
          </p:txBody>
        </p:sp>
        <p:sp>
          <p:nvSpPr>
            <p:cNvPr id="8" name="Freeform 42">
              <a:extLst>
                <a:ext uri="{FF2B5EF4-FFF2-40B4-BE49-F238E27FC236}">
                  <a16:creationId xmlns:a16="http://schemas.microsoft.com/office/drawing/2014/main" xmlns="" id="{2BDDFFD3-0766-45BD-9EB3-AA61C4A0490B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21030460" flipH="1">
              <a:off x="10968557" y="1106599"/>
              <a:ext cx="283226" cy="284583"/>
            </a:xfrm>
            <a:custGeom>
              <a:avLst/>
              <a:gdLst>
                <a:gd name="T0" fmla="*/ 347 w 390"/>
                <a:gd name="T1" fmla="*/ 119 h 392"/>
                <a:gd name="T2" fmla="*/ 347 w 390"/>
                <a:gd name="T3" fmla="*/ 119 h 392"/>
                <a:gd name="T4" fmla="*/ 118 w 390"/>
                <a:gd name="T5" fmla="*/ 42 h 392"/>
                <a:gd name="T6" fmla="*/ 118 w 390"/>
                <a:gd name="T7" fmla="*/ 42 h 392"/>
                <a:gd name="T8" fmla="*/ 42 w 390"/>
                <a:gd name="T9" fmla="*/ 272 h 392"/>
                <a:gd name="T10" fmla="*/ 42 w 390"/>
                <a:gd name="T11" fmla="*/ 272 h 392"/>
                <a:gd name="T12" fmla="*/ 271 w 390"/>
                <a:gd name="T13" fmla="*/ 348 h 392"/>
                <a:gd name="T14" fmla="*/ 271 w 390"/>
                <a:gd name="T15" fmla="*/ 348 h 392"/>
                <a:gd name="T16" fmla="*/ 347 w 390"/>
                <a:gd name="T17" fmla="*/ 119 h 3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90" h="392">
                  <a:moveTo>
                    <a:pt x="347" y="119"/>
                  </a:moveTo>
                  <a:lnTo>
                    <a:pt x="347" y="119"/>
                  </a:lnTo>
                  <a:cubicBezTo>
                    <a:pt x="305" y="35"/>
                    <a:pt x="203" y="0"/>
                    <a:pt x="118" y="42"/>
                  </a:cubicBezTo>
                  <a:lnTo>
                    <a:pt x="118" y="42"/>
                  </a:lnTo>
                  <a:cubicBezTo>
                    <a:pt x="34" y="84"/>
                    <a:pt x="0" y="187"/>
                    <a:pt x="42" y="272"/>
                  </a:cubicBezTo>
                  <a:lnTo>
                    <a:pt x="42" y="272"/>
                  </a:lnTo>
                  <a:cubicBezTo>
                    <a:pt x="84" y="356"/>
                    <a:pt x="186" y="391"/>
                    <a:pt x="271" y="348"/>
                  </a:cubicBezTo>
                  <a:lnTo>
                    <a:pt x="271" y="348"/>
                  </a:lnTo>
                  <a:cubicBezTo>
                    <a:pt x="356" y="306"/>
                    <a:pt x="389" y="203"/>
                    <a:pt x="347" y="119"/>
                  </a:cubicBezTo>
                </a:path>
              </a:pathLst>
            </a:custGeom>
            <a:solidFill>
              <a:schemeClr val="accent2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s-ES_tradnl"/>
            </a:p>
          </p:txBody>
        </p:sp>
      </p:grpSp>
      <p:grpSp>
        <p:nvGrpSpPr>
          <p:cNvPr id="9" name="Gruppieren 8">
            <a:extLst>
              <a:ext uri="{FF2B5EF4-FFF2-40B4-BE49-F238E27FC236}">
                <a16:creationId xmlns:a16="http://schemas.microsoft.com/office/drawing/2014/main" xmlns="" id="{230A25D9-9125-491D-A901-BD8A7B374E00}"/>
              </a:ext>
            </a:extLst>
          </p:cNvPr>
          <p:cNvGrpSpPr/>
          <p:nvPr userDrawn="1"/>
        </p:nvGrpSpPr>
        <p:grpSpPr>
          <a:xfrm rot="20589661">
            <a:off x="-2613660" y="-110409"/>
            <a:ext cx="7733937" cy="3072844"/>
            <a:chOff x="3517846" y="-1308843"/>
            <a:chExt cx="7733937" cy="3072844"/>
          </a:xfrm>
        </p:grpSpPr>
        <p:sp>
          <p:nvSpPr>
            <p:cNvPr id="10" name="Freeform 39">
              <a:extLst>
                <a:ext uri="{FF2B5EF4-FFF2-40B4-BE49-F238E27FC236}">
                  <a16:creationId xmlns:a16="http://schemas.microsoft.com/office/drawing/2014/main" xmlns="" id="{7549AFE8-F93F-4846-BEAF-F354FE45B3DE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21030460" flipH="1">
              <a:off x="4815072" y="-1308843"/>
              <a:ext cx="5902672" cy="3072844"/>
            </a:xfrm>
            <a:custGeom>
              <a:avLst/>
              <a:gdLst>
                <a:gd name="T0" fmla="*/ 8043 w 8086"/>
                <a:gd name="T1" fmla="*/ 118 h 4239"/>
                <a:gd name="T2" fmla="*/ 8043 w 8086"/>
                <a:gd name="T3" fmla="*/ 118 h 4239"/>
                <a:gd name="T4" fmla="*/ 7814 w 8086"/>
                <a:gd name="T5" fmla="*/ 42 h 4239"/>
                <a:gd name="T6" fmla="*/ 119 w 8086"/>
                <a:gd name="T7" fmla="*/ 3890 h 4239"/>
                <a:gd name="T8" fmla="*/ 119 w 8086"/>
                <a:gd name="T9" fmla="*/ 3890 h 4239"/>
                <a:gd name="T10" fmla="*/ 42 w 8086"/>
                <a:gd name="T11" fmla="*/ 4120 h 4239"/>
                <a:gd name="T12" fmla="*/ 42 w 8086"/>
                <a:gd name="T13" fmla="*/ 4120 h 4239"/>
                <a:gd name="T14" fmla="*/ 272 w 8086"/>
                <a:gd name="T15" fmla="*/ 4196 h 4239"/>
                <a:gd name="T16" fmla="*/ 7967 w 8086"/>
                <a:gd name="T17" fmla="*/ 347 h 4239"/>
                <a:gd name="T18" fmla="*/ 7967 w 8086"/>
                <a:gd name="T19" fmla="*/ 347 h 4239"/>
                <a:gd name="T20" fmla="*/ 8043 w 8086"/>
                <a:gd name="T21" fmla="*/ 118 h 4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086" h="4239">
                  <a:moveTo>
                    <a:pt x="8043" y="118"/>
                  </a:moveTo>
                  <a:lnTo>
                    <a:pt x="8043" y="118"/>
                  </a:lnTo>
                  <a:cubicBezTo>
                    <a:pt x="8001" y="34"/>
                    <a:pt x="7898" y="0"/>
                    <a:pt x="7814" y="42"/>
                  </a:cubicBezTo>
                  <a:lnTo>
                    <a:pt x="119" y="3890"/>
                  </a:lnTo>
                  <a:lnTo>
                    <a:pt x="119" y="3890"/>
                  </a:lnTo>
                  <a:cubicBezTo>
                    <a:pt x="34" y="3932"/>
                    <a:pt x="0" y="4035"/>
                    <a:pt x="42" y="4120"/>
                  </a:cubicBezTo>
                  <a:lnTo>
                    <a:pt x="42" y="4120"/>
                  </a:lnTo>
                  <a:cubicBezTo>
                    <a:pt x="84" y="4204"/>
                    <a:pt x="187" y="4238"/>
                    <a:pt x="272" y="4196"/>
                  </a:cubicBezTo>
                  <a:lnTo>
                    <a:pt x="7967" y="347"/>
                  </a:lnTo>
                  <a:lnTo>
                    <a:pt x="7967" y="347"/>
                  </a:lnTo>
                  <a:cubicBezTo>
                    <a:pt x="8051" y="305"/>
                    <a:pt x="8085" y="203"/>
                    <a:pt x="8043" y="118"/>
                  </a:cubicBezTo>
                </a:path>
              </a:pathLst>
            </a:custGeom>
            <a:solidFill>
              <a:schemeClr val="accent2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s-ES_tradnl"/>
            </a:p>
          </p:txBody>
        </p:sp>
        <p:sp>
          <p:nvSpPr>
            <p:cNvPr id="11" name="Freeform 40">
              <a:extLst>
                <a:ext uri="{FF2B5EF4-FFF2-40B4-BE49-F238E27FC236}">
                  <a16:creationId xmlns:a16="http://schemas.microsoft.com/office/drawing/2014/main" xmlns="" id="{4363141F-0134-4272-A7CA-7ED7AD8DB48E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21030460" flipH="1">
              <a:off x="3917855" y="-1077475"/>
              <a:ext cx="617946" cy="450856"/>
            </a:xfrm>
            <a:custGeom>
              <a:avLst/>
              <a:gdLst>
                <a:gd name="T0" fmla="*/ 804 w 848"/>
                <a:gd name="T1" fmla="*/ 119 h 620"/>
                <a:gd name="T2" fmla="*/ 804 w 848"/>
                <a:gd name="T3" fmla="*/ 119 h 620"/>
                <a:gd name="T4" fmla="*/ 576 w 848"/>
                <a:gd name="T5" fmla="*/ 42 h 620"/>
                <a:gd name="T6" fmla="*/ 118 w 848"/>
                <a:gd name="T7" fmla="*/ 271 h 620"/>
                <a:gd name="T8" fmla="*/ 118 w 848"/>
                <a:gd name="T9" fmla="*/ 271 h 620"/>
                <a:gd name="T10" fmla="*/ 41 w 848"/>
                <a:gd name="T11" fmla="*/ 501 h 620"/>
                <a:gd name="T12" fmla="*/ 41 w 848"/>
                <a:gd name="T13" fmla="*/ 501 h 620"/>
                <a:gd name="T14" fmla="*/ 271 w 848"/>
                <a:gd name="T15" fmla="*/ 577 h 620"/>
                <a:gd name="T16" fmla="*/ 727 w 848"/>
                <a:gd name="T17" fmla="*/ 348 h 620"/>
                <a:gd name="T18" fmla="*/ 727 w 848"/>
                <a:gd name="T19" fmla="*/ 348 h 620"/>
                <a:gd name="T20" fmla="*/ 804 w 848"/>
                <a:gd name="T21" fmla="*/ 119 h 6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48" h="620">
                  <a:moveTo>
                    <a:pt x="804" y="119"/>
                  </a:moveTo>
                  <a:lnTo>
                    <a:pt x="804" y="119"/>
                  </a:lnTo>
                  <a:cubicBezTo>
                    <a:pt x="762" y="34"/>
                    <a:pt x="659" y="0"/>
                    <a:pt x="576" y="42"/>
                  </a:cubicBezTo>
                  <a:lnTo>
                    <a:pt x="118" y="271"/>
                  </a:lnTo>
                  <a:lnTo>
                    <a:pt x="118" y="271"/>
                  </a:lnTo>
                  <a:cubicBezTo>
                    <a:pt x="33" y="313"/>
                    <a:pt x="0" y="416"/>
                    <a:pt x="41" y="501"/>
                  </a:cubicBezTo>
                  <a:lnTo>
                    <a:pt x="41" y="501"/>
                  </a:lnTo>
                  <a:cubicBezTo>
                    <a:pt x="83" y="585"/>
                    <a:pt x="186" y="619"/>
                    <a:pt x="271" y="577"/>
                  </a:cubicBezTo>
                  <a:lnTo>
                    <a:pt x="727" y="348"/>
                  </a:lnTo>
                  <a:lnTo>
                    <a:pt x="727" y="348"/>
                  </a:lnTo>
                  <a:cubicBezTo>
                    <a:pt x="812" y="306"/>
                    <a:pt x="847" y="203"/>
                    <a:pt x="804" y="119"/>
                  </a:cubicBezTo>
                </a:path>
              </a:pathLst>
            </a:custGeom>
            <a:solidFill>
              <a:schemeClr val="accent2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s-ES_tradnl"/>
            </a:p>
          </p:txBody>
        </p:sp>
        <p:sp>
          <p:nvSpPr>
            <p:cNvPr id="12" name="Freeform 41">
              <a:extLst>
                <a:ext uri="{FF2B5EF4-FFF2-40B4-BE49-F238E27FC236}">
                  <a16:creationId xmlns:a16="http://schemas.microsoft.com/office/drawing/2014/main" xmlns="" id="{E45ADC48-A976-4C30-90A3-0CEFF7FF594C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21030460" flipH="1">
              <a:off x="3517846" y="-1166395"/>
              <a:ext cx="286442" cy="284583"/>
            </a:xfrm>
            <a:custGeom>
              <a:avLst/>
              <a:gdLst>
                <a:gd name="T0" fmla="*/ 348 w 391"/>
                <a:gd name="T1" fmla="*/ 119 h 391"/>
                <a:gd name="T2" fmla="*/ 348 w 391"/>
                <a:gd name="T3" fmla="*/ 119 h 391"/>
                <a:gd name="T4" fmla="*/ 118 w 391"/>
                <a:gd name="T5" fmla="*/ 42 h 391"/>
                <a:gd name="T6" fmla="*/ 118 w 391"/>
                <a:gd name="T7" fmla="*/ 42 h 391"/>
                <a:gd name="T8" fmla="*/ 42 w 391"/>
                <a:gd name="T9" fmla="*/ 271 h 391"/>
                <a:gd name="T10" fmla="*/ 42 w 391"/>
                <a:gd name="T11" fmla="*/ 271 h 391"/>
                <a:gd name="T12" fmla="*/ 271 w 391"/>
                <a:gd name="T13" fmla="*/ 348 h 391"/>
                <a:gd name="T14" fmla="*/ 271 w 391"/>
                <a:gd name="T15" fmla="*/ 348 h 391"/>
                <a:gd name="T16" fmla="*/ 348 w 391"/>
                <a:gd name="T17" fmla="*/ 119 h 3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91" h="391">
                  <a:moveTo>
                    <a:pt x="348" y="119"/>
                  </a:moveTo>
                  <a:lnTo>
                    <a:pt x="348" y="119"/>
                  </a:lnTo>
                  <a:cubicBezTo>
                    <a:pt x="305" y="34"/>
                    <a:pt x="203" y="0"/>
                    <a:pt x="118" y="42"/>
                  </a:cubicBezTo>
                  <a:lnTo>
                    <a:pt x="118" y="42"/>
                  </a:lnTo>
                  <a:cubicBezTo>
                    <a:pt x="33" y="84"/>
                    <a:pt x="0" y="187"/>
                    <a:pt x="42" y="271"/>
                  </a:cubicBezTo>
                  <a:lnTo>
                    <a:pt x="42" y="271"/>
                  </a:lnTo>
                  <a:cubicBezTo>
                    <a:pt x="84" y="356"/>
                    <a:pt x="187" y="390"/>
                    <a:pt x="271" y="348"/>
                  </a:cubicBezTo>
                  <a:lnTo>
                    <a:pt x="271" y="348"/>
                  </a:lnTo>
                  <a:cubicBezTo>
                    <a:pt x="355" y="305"/>
                    <a:pt x="390" y="203"/>
                    <a:pt x="348" y="119"/>
                  </a:cubicBezTo>
                </a:path>
              </a:pathLst>
            </a:custGeom>
            <a:solidFill>
              <a:schemeClr val="accent2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s-ES_tradnl"/>
            </a:p>
          </p:txBody>
        </p:sp>
        <p:sp>
          <p:nvSpPr>
            <p:cNvPr id="13" name="Freeform 42">
              <a:extLst>
                <a:ext uri="{FF2B5EF4-FFF2-40B4-BE49-F238E27FC236}">
                  <a16:creationId xmlns:a16="http://schemas.microsoft.com/office/drawing/2014/main" xmlns="" id="{DD6EAB61-316C-49F8-8983-D8310E8B852B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21030460" flipH="1">
              <a:off x="10968557" y="1106599"/>
              <a:ext cx="283226" cy="284583"/>
            </a:xfrm>
            <a:custGeom>
              <a:avLst/>
              <a:gdLst>
                <a:gd name="T0" fmla="*/ 347 w 390"/>
                <a:gd name="T1" fmla="*/ 119 h 392"/>
                <a:gd name="T2" fmla="*/ 347 w 390"/>
                <a:gd name="T3" fmla="*/ 119 h 392"/>
                <a:gd name="T4" fmla="*/ 118 w 390"/>
                <a:gd name="T5" fmla="*/ 42 h 392"/>
                <a:gd name="T6" fmla="*/ 118 w 390"/>
                <a:gd name="T7" fmla="*/ 42 h 392"/>
                <a:gd name="T8" fmla="*/ 42 w 390"/>
                <a:gd name="T9" fmla="*/ 272 h 392"/>
                <a:gd name="T10" fmla="*/ 42 w 390"/>
                <a:gd name="T11" fmla="*/ 272 h 392"/>
                <a:gd name="T12" fmla="*/ 271 w 390"/>
                <a:gd name="T13" fmla="*/ 348 h 392"/>
                <a:gd name="T14" fmla="*/ 271 w 390"/>
                <a:gd name="T15" fmla="*/ 348 h 392"/>
                <a:gd name="T16" fmla="*/ 347 w 390"/>
                <a:gd name="T17" fmla="*/ 119 h 3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90" h="392">
                  <a:moveTo>
                    <a:pt x="347" y="119"/>
                  </a:moveTo>
                  <a:lnTo>
                    <a:pt x="347" y="119"/>
                  </a:lnTo>
                  <a:cubicBezTo>
                    <a:pt x="305" y="35"/>
                    <a:pt x="203" y="0"/>
                    <a:pt x="118" y="42"/>
                  </a:cubicBezTo>
                  <a:lnTo>
                    <a:pt x="118" y="42"/>
                  </a:lnTo>
                  <a:cubicBezTo>
                    <a:pt x="34" y="84"/>
                    <a:pt x="0" y="187"/>
                    <a:pt x="42" y="272"/>
                  </a:cubicBezTo>
                  <a:lnTo>
                    <a:pt x="42" y="272"/>
                  </a:lnTo>
                  <a:cubicBezTo>
                    <a:pt x="84" y="356"/>
                    <a:pt x="186" y="391"/>
                    <a:pt x="271" y="348"/>
                  </a:cubicBezTo>
                  <a:lnTo>
                    <a:pt x="271" y="348"/>
                  </a:lnTo>
                  <a:cubicBezTo>
                    <a:pt x="356" y="306"/>
                    <a:pt x="389" y="203"/>
                    <a:pt x="347" y="119"/>
                  </a:cubicBezTo>
                </a:path>
              </a:pathLst>
            </a:custGeom>
            <a:solidFill>
              <a:schemeClr val="accent2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s-ES_tradnl"/>
            </a:p>
          </p:txBody>
        </p:sp>
      </p:grpSp>
    </p:spTree>
    <p:extLst>
      <p:ext uri="{BB962C8B-B14F-4D97-AF65-F5344CB8AC3E}">
        <p14:creationId xmlns:p14="http://schemas.microsoft.com/office/powerpoint/2010/main" val="4198715976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391">
          <p15:clr>
            <a:srgbClr val="FBAE40"/>
          </p15:clr>
        </p15:guide>
        <p15:guide id="3" pos="3840">
          <p15:clr>
            <a:srgbClr val="FBAE40"/>
          </p15:clr>
        </p15:guide>
        <p15:guide id="4" pos="438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Überschrift 3 Kreise dunkelblau">
    <p:bg>
      <p:bgPr>
        <a:solidFill>
          <a:srgbClr val="002B6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5E8BE331-C93C-4A62-8706-E5CDAF2B355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6000" y="576000"/>
            <a:ext cx="10515600" cy="427877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3200" baseline="0">
                <a:solidFill>
                  <a:srgbClr val="FFFFFF"/>
                </a:solidFill>
                <a:latin typeface="Roboto Medium" panose="02000000000000000000" pitchFamily="2" charset="0"/>
                <a:ea typeface="Roboto Medium" panose="02000000000000000000" pitchFamily="2" charset="0"/>
              </a:defRPr>
            </a:lvl1pPr>
          </a:lstStyle>
          <a:p>
            <a:r>
              <a:rPr lang="en-US" dirty="0" err="1"/>
              <a:t>Hier</a:t>
            </a:r>
            <a:r>
              <a:rPr lang="en-US" dirty="0"/>
              <a:t> </a:t>
            </a:r>
            <a:r>
              <a:rPr lang="en-US" dirty="0" err="1"/>
              <a:t>steht</a:t>
            </a:r>
            <a:r>
              <a:rPr lang="en-US" dirty="0"/>
              <a:t> </a:t>
            </a:r>
            <a:r>
              <a:rPr lang="en-US" dirty="0" err="1"/>
              <a:t>eine</a:t>
            </a:r>
            <a:r>
              <a:rPr lang="en-US" dirty="0"/>
              <a:t> </a:t>
            </a:r>
            <a:r>
              <a:rPr lang="en-US" dirty="0" err="1"/>
              <a:t>Überschrift</a:t>
            </a:r>
            <a:endParaRPr lang="en-IN" dirty="0"/>
          </a:p>
        </p:txBody>
      </p:sp>
      <p:sp>
        <p:nvSpPr>
          <p:cNvPr id="3" name="Freeform: Shape 7696">
            <a:extLst>
              <a:ext uri="{FF2B5EF4-FFF2-40B4-BE49-F238E27FC236}">
                <a16:creationId xmlns:a16="http://schemas.microsoft.com/office/drawing/2014/main" xmlns="" id="{D4FB5860-65A2-463B-90B4-C2DA455CF07F}"/>
              </a:ext>
            </a:extLst>
          </p:cNvPr>
          <p:cNvSpPr/>
          <p:nvPr userDrawn="1"/>
        </p:nvSpPr>
        <p:spPr>
          <a:xfrm rot="4800">
            <a:off x="1250930" y="2741771"/>
            <a:ext cx="2585998" cy="2589490"/>
          </a:xfrm>
          <a:custGeom>
            <a:avLst/>
            <a:gdLst/>
            <a:ahLst/>
            <a:cxnLst>
              <a:cxn ang="3cd4">
                <a:pos x="hc" y="t"/>
              </a:cxn>
              <a:cxn ang="cd2">
                <a:pos x="l" y="vc"/>
              </a:cxn>
              <a:cxn ang="cd4">
                <a:pos x="hc" y="b"/>
              </a:cxn>
              <a:cxn ang="0">
                <a:pos x="r" y="vc"/>
              </a:cxn>
            </a:cxnLst>
            <a:rect l="l" t="t" r="r" b="b"/>
            <a:pathLst>
              <a:path w="742" h="743">
                <a:moveTo>
                  <a:pt x="742" y="372"/>
                </a:moveTo>
                <a:cubicBezTo>
                  <a:pt x="742" y="577"/>
                  <a:pt x="576" y="743"/>
                  <a:pt x="371" y="743"/>
                </a:cubicBezTo>
                <a:cubicBezTo>
                  <a:pt x="166" y="743"/>
                  <a:pt x="0" y="577"/>
                  <a:pt x="0" y="372"/>
                </a:cubicBezTo>
                <a:cubicBezTo>
                  <a:pt x="0" y="166"/>
                  <a:pt x="166" y="0"/>
                  <a:pt x="371" y="0"/>
                </a:cubicBezTo>
                <a:cubicBezTo>
                  <a:pt x="576" y="0"/>
                  <a:pt x="742" y="166"/>
                  <a:pt x="742" y="372"/>
                </a:cubicBezTo>
                <a:close/>
              </a:path>
            </a:pathLst>
          </a:custGeom>
          <a:solidFill>
            <a:srgbClr val="E1D6BC"/>
          </a:solidFill>
          <a:ln cap="flat">
            <a:noFill/>
            <a:prstDash val="solid"/>
          </a:ln>
        </p:spPr>
        <p:txBody>
          <a:bodyPr vert="horz" wrap="none" lIns="45000" tIns="22500" rIns="45000" bIns="22500" anchor="ctr" anchorCtr="1" compatLnSpc="0"/>
          <a:lstStyle/>
          <a:p>
            <a:pPr hangingPunct="0"/>
            <a:endParaRPr lang="en-US" sz="900">
              <a:solidFill>
                <a:srgbClr val="66C7EE"/>
              </a:solidFill>
              <a:latin typeface="Arial" pitchFamily="18"/>
              <a:ea typeface="Arial Unicode MS" pitchFamily="2"/>
              <a:cs typeface="Arial Unicode MS" pitchFamily="2"/>
            </a:endParaRPr>
          </a:p>
        </p:txBody>
      </p:sp>
      <p:sp>
        <p:nvSpPr>
          <p:cNvPr id="4" name="Freeform: Shape 7698">
            <a:extLst>
              <a:ext uri="{FF2B5EF4-FFF2-40B4-BE49-F238E27FC236}">
                <a16:creationId xmlns:a16="http://schemas.microsoft.com/office/drawing/2014/main" xmlns="" id="{0C51D1DA-D8BC-4E86-8193-7F18DB09F66B}"/>
              </a:ext>
            </a:extLst>
          </p:cNvPr>
          <p:cNvSpPr/>
          <p:nvPr userDrawn="1"/>
        </p:nvSpPr>
        <p:spPr>
          <a:xfrm rot="4800">
            <a:off x="4803958" y="2730030"/>
            <a:ext cx="2589488" cy="2589490"/>
          </a:xfrm>
          <a:custGeom>
            <a:avLst/>
            <a:gdLst/>
            <a:ahLst/>
            <a:cxnLst>
              <a:cxn ang="3cd4">
                <a:pos x="hc" y="t"/>
              </a:cxn>
              <a:cxn ang="cd2">
                <a:pos x="l" y="vc"/>
              </a:cxn>
              <a:cxn ang="cd4">
                <a:pos x="hc" y="b"/>
              </a:cxn>
              <a:cxn ang="0">
                <a:pos x="r" y="vc"/>
              </a:cxn>
            </a:cxnLst>
            <a:rect l="l" t="t" r="r" b="b"/>
            <a:pathLst>
              <a:path w="743" h="743">
                <a:moveTo>
                  <a:pt x="743" y="371"/>
                </a:moveTo>
                <a:cubicBezTo>
                  <a:pt x="743" y="576"/>
                  <a:pt x="576" y="743"/>
                  <a:pt x="371" y="743"/>
                </a:cubicBezTo>
                <a:cubicBezTo>
                  <a:pt x="166" y="743"/>
                  <a:pt x="0" y="576"/>
                  <a:pt x="0" y="371"/>
                </a:cubicBezTo>
                <a:cubicBezTo>
                  <a:pt x="0" y="166"/>
                  <a:pt x="166" y="0"/>
                  <a:pt x="371" y="0"/>
                </a:cubicBezTo>
                <a:cubicBezTo>
                  <a:pt x="576" y="0"/>
                  <a:pt x="743" y="166"/>
                  <a:pt x="743" y="371"/>
                </a:cubicBezTo>
                <a:close/>
              </a:path>
            </a:pathLst>
          </a:custGeom>
          <a:solidFill>
            <a:schemeClr val="accent3"/>
          </a:solidFill>
          <a:ln cap="flat">
            <a:noFill/>
            <a:prstDash val="solid"/>
          </a:ln>
        </p:spPr>
        <p:txBody>
          <a:bodyPr vert="horz" wrap="none" lIns="45000" tIns="22500" rIns="45000" bIns="22500" anchor="ctr" anchorCtr="1" compatLnSpc="0"/>
          <a:lstStyle/>
          <a:p>
            <a:pPr hangingPunct="0"/>
            <a:endParaRPr lang="en-US" sz="900">
              <a:latin typeface="Arial" pitchFamily="18"/>
              <a:ea typeface="Arial Unicode MS" pitchFamily="2"/>
              <a:cs typeface="Arial Unicode MS" pitchFamily="2"/>
            </a:endParaRPr>
          </a:p>
        </p:txBody>
      </p:sp>
      <p:sp>
        <p:nvSpPr>
          <p:cNvPr id="5" name="Freeform: Shape 7700">
            <a:extLst>
              <a:ext uri="{FF2B5EF4-FFF2-40B4-BE49-F238E27FC236}">
                <a16:creationId xmlns:a16="http://schemas.microsoft.com/office/drawing/2014/main" xmlns="" id="{F5BD0854-B203-42EE-B28C-E45EE4787E98}"/>
              </a:ext>
            </a:extLst>
          </p:cNvPr>
          <p:cNvSpPr/>
          <p:nvPr userDrawn="1"/>
        </p:nvSpPr>
        <p:spPr>
          <a:xfrm rot="4800">
            <a:off x="8360474" y="2730031"/>
            <a:ext cx="2589488" cy="2589490"/>
          </a:xfrm>
          <a:custGeom>
            <a:avLst/>
            <a:gdLst/>
            <a:ahLst/>
            <a:cxnLst>
              <a:cxn ang="3cd4">
                <a:pos x="hc" y="t"/>
              </a:cxn>
              <a:cxn ang="cd2">
                <a:pos x="l" y="vc"/>
              </a:cxn>
              <a:cxn ang="cd4">
                <a:pos x="hc" y="b"/>
              </a:cxn>
              <a:cxn ang="0">
                <a:pos x="r" y="vc"/>
              </a:cxn>
            </a:cxnLst>
            <a:rect l="l" t="t" r="r" b="b"/>
            <a:pathLst>
              <a:path w="743" h="743">
                <a:moveTo>
                  <a:pt x="743" y="371"/>
                </a:moveTo>
                <a:cubicBezTo>
                  <a:pt x="743" y="577"/>
                  <a:pt x="576" y="743"/>
                  <a:pt x="371" y="743"/>
                </a:cubicBezTo>
                <a:cubicBezTo>
                  <a:pt x="166" y="743"/>
                  <a:pt x="0" y="577"/>
                  <a:pt x="0" y="371"/>
                </a:cubicBezTo>
                <a:cubicBezTo>
                  <a:pt x="0" y="166"/>
                  <a:pt x="166" y="0"/>
                  <a:pt x="371" y="0"/>
                </a:cubicBezTo>
                <a:cubicBezTo>
                  <a:pt x="576" y="0"/>
                  <a:pt x="743" y="166"/>
                  <a:pt x="743" y="371"/>
                </a:cubicBezTo>
                <a:close/>
              </a:path>
            </a:pathLst>
          </a:custGeom>
          <a:solidFill>
            <a:schemeClr val="accent5"/>
          </a:solidFill>
          <a:ln cap="flat">
            <a:noFill/>
            <a:prstDash val="solid"/>
          </a:ln>
        </p:spPr>
        <p:txBody>
          <a:bodyPr vert="horz" wrap="none" lIns="45000" tIns="22500" rIns="45000" bIns="22500" anchor="ctr" anchorCtr="1" compatLnSpc="0"/>
          <a:lstStyle/>
          <a:p>
            <a:pPr hangingPunct="0"/>
            <a:endParaRPr lang="en-US" sz="900">
              <a:latin typeface="Arial" pitchFamily="18"/>
              <a:ea typeface="Arial Unicode MS" pitchFamily="2"/>
              <a:cs typeface="Arial Unicode MS" pitchFamily="2"/>
            </a:endParaRPr>
          </a:p>
        </p:txBody>
      </p:sp>
      <p:grpSp>
        <p:nvGrpSpPr>
          <p:cNvPr id="6" name="Gruppieren 5">
            <a:extLst>
              <a:ext uri="{FF2B5EF4-FFF2-40B4-BE49-F238E27FC236}">
                <a16:creationId xmlns:a16="http://schemas.microsoft.com/office/drawing/2014/main" xmlns="" id="{415C5523-F905-4954-9B4E-B1F7B7CE6E5C}"/>
              </a:ext>
            </a:extLst>
          </p:cNvPr>
          <p:cNvGrpSpPr/>
          <p:nvPr userDrawn="1"/>
        </p:nvGrpSpPr>
        <p:grpSpPr>
          <a:xfrm rot="20589661">
            <a:off x="5171585" y="-95236"/>
            <a:ext cx="7733937" cy="3072844"/>
            <a:chOff x="3517846" y="-1308843"/>
            <a:chExt cx="7733937" cy="3072844"/>
          </a:xfrm>
        </p:grpSpPr>
        <p:sp>
          <p:nvSpPr>
            <p:cNvPr id="7" name="Freeform 39">
              <a:extLst>
                <a:ext uri="{FF2B5EF4-FFF2-40B4-BE49-F238E27FC236}">
                  <a16:creationId xmlns:a16="http://schemas.microsoft.com/office/drawing/2014/main" xmlns="" id="{278F5577-B135-4983-8227-730E2E26FE81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21030460" flipH="1">
              <a:off x="4815072" y="-1308843"/>
              <a:ext cx="5902672" cy="3072844"/>
            </a:xfrm>
            <a:custGeom>
              <a:avLst/>
              <a:gdLst>
                <a:gd name="T0" fmla="*/ 8043 w 8086"/>
                <a:gd name="T1" fmla="*/ 118 h 4239"/>
                <a:gd name="T2" fmla="*/ 8043 w 8086"/>
                <a:gd name="T3" fmla="*/ 118 h 4239"/>
                <a:gd name="T4" fmla="*/ 7814 w 8086"/>
                <a:gd name="T5" fmla="*/ 42 h 4239"/>
                <a:gd name="T6" fmla="*/ 119 w 8086"/>
                <a:gd name="T7" fmla="*/ 3890 h 4239"/>
                <a:gd name="T8" fmla="*/ 119 w 8086"/>
                <a:gd name="T9" fmla="*/ 3890 h 4239"/>
                <a:gd name="T10" fmla="*/ 42 w 8086"/>
                <a:gd name="T11" fmla="*/ 4120 h 4239"/>
                <a:gd name="T12" fmla="*/ 42 w 8086"/>
                <a:gd name="T13" fmla="*/ 4120 h 4239"/>
                <a:gd name="T14" fmla="*/ 272 w 8086"/>
                <a:gd name="T15" fmla="*/ 4196 h 4239"/>
                <a:gd name="T16" fmla="*/ 7967 w 8086"/>
                <a:gd name="T17" fmla="*/ 347 h 4239"/>
                <a:gd name="T18" fmla="*/ 7967 w 8086"/>
                <a:gd name="T19" fmla="*/ 347 h 4239"/>
                <a:gd name="T20" fmla="*/ 8043 w 8086"/>
                <a:gd name="T21" fmla="*/ 118 h 4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086" h="4239">
                  <a:moveTo>
                    <a:pt x="8043" y="118"/>
                  </a:moveTo>
                  <a:lnTo>
                    <a:pt x="8043" y="118"/>
                  </a:lnTo>
                  <a:cubicBezTo>
                    <a:pt x="8001" y="34"/>
                    <a:pt x="7898" y="0"/>
                    <a:pt x="7814" y="42"/>
                  </a:cubicBezTo>
                  <a:lnTo>
                    <a:pt x="119" y="3890"/>
                  </a:lnTo>
                  <a:lnTo>
                    <a:pt x="119" y="3890"/>
                  </a:lnTo>
                  <a:cubicBezTo>
                    <a:pt x="34" y="3932"/>
                    <a:pt x="0" y="4035"/>
                    <a:pt x="42" y="4120"/>
                  </a:cubicBezTo>
                  <a:lnTo>
                    <a:pt x="42" y="4120"/>
                  </a:lnTo>
                  <a:cubicBezTo>
                    <a:pt x="84" y="4204"/>
                    <a:pt x="187" y="4238"/>
                    <a:pt x="272" y="4196"/>
                  </a:cubicBezTo>
                  <a:lnTo>
                    <a:pt x="7967" y="347"/>
                  </a:lnTo>
                  <a:lnTo>
                    <a:pt x="7967" y="347"/>
                  </a:lnTo>
                  <a:cubicBezTo>
                    <a:pt x="8051" y="305"/>
                    <a:pt x="8085" y="203"/>
                    <a:pt x="8043" y="118"/>
                  </a:cubicBezTo>
                </a:path>
              </a:pathLst>
            </a:custGeom>
            <a:solidFill>
              <a:schemeClr val="accent2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s-ES_tradnl"/>
            </a:p>
          </p:txBody>
        </p:sp>
        <p:sp>
          <p:nvSpPr>
            <p:cNvPr id="8" name="Freeform 40">
              <a:extLst>
                <a:ext uri="{FF2B5EF4-FFF2-40B4-BE49-F238E27FC236}">
                  <a16:creationId xmlns:a16="http://schemas.microsoft.com/office/drawing/2014/main" xmlns="" id="{89020FA5-1857-40F6-BE7E-CDF3F38A6F5C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21030460" flipH="1">
              <a:off x="3917855" y="-1077475"/>
              <a:ext cx="617946" cy="450856"/>
            </a:xfrm>
            <a:custGeom>
              <a:avLst/>
              <a:gdLst>
                <a:gd name="T0" fmla="*/ 804 w 848"/>
                <a:gd name="T1" fmla="*/ 119 h 620"/>
                <a:gd name="T2" fmla="*/ 804 w 848"/>
                <a:gd name="T3" fmla="*/ 119 h 620"/>
                <a:gd name="T4" fmla="*/ 576 w 848"/>
                <a:gd name="T5" fmla="*/ 42 h 620"/>
                <a:gd name="T6" fmla="*/ 118 w 848"/>
                <a:gd name="T7" fmla="*/ 271 h 620"/>
                <a:gd name="T8" fmla="*/ 118 w 848"/>
                <a:gd name="T9" fmla="*/ 271 h 620"/>
                <a:gd name="T10" fmla="*/ 41 w 848"/>
                <a:gd name="T11" fmla="*/ 501 h 620"/>
                <a:gd name="T12" fmla="*/ 41 w 848"/>
                <a:gd name="T13" fmla="*/ 501 h 620"/>
                <a:gd name="T14" fmla="*/ 271 w 848"/>
                <a:gd name="T15" fmla="*/ 577 h 620"/>
                <a:gd name="T16" fmla="*/ 727 w 848"/>
                <a:gd name="T17" fmla="*/ 348 h 620"/>
                <a:gd name="T18" fmla="*/ 727 w 848"/>
                <a:gd name="T19" fmla="*/ 348 h 620"/>
                <a:gd name="T20" fmla="*/ 804 w 848"/>
                <a:gd name="T21" fmla="*/ 119 h 6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48" h="620">
                  <a:moveTo>
                    <a:pt x="804" y="119"/>
                  </a:moveTo>
                  <a:lnTo>
                    <a:pt x="804" y="119"/>
                  </a:lnTo>
                  <a:cubicBezTo>
                    <a:pt x="762" y="34"/>
                    <a:pt x="659" y="0"/>
                    <a:pt x="576" y="42"/>
                  </a:cubicBezTo>
                  <a:lnTo>
                    <a:pt x="118" y="271"/>
                  </a:lnTo>
                  <a:lnTo>
                    <a:pt x="118" y="271"/>
                  </a:lnTo>
                  <a:cubicBezTo>
                    <a:pt x="33" y="313"/>
                    <a:pt x="0" y="416"/>
                    <a:pt x="41" y="501"/>
                  </a:cubicBezTo>
                  <a:lnTo>
                    <a:pt x="41" y="501"/>
                  </a:lnTo>
                  <a:cubicBezTo>
                    <a:pt x="83" y="585"/>
                    <a:pt x="186" y="619"/>
                    <a:pt x="271" y="577"/>
                  </a:cubicBezTo>
                  <a:lnTo>
                    <a:pt x="727" y="348"/>
                  </a:lnTo>
                  <a:lnTo>
                    <a:pt x="727" y="348"/>
                  </a:lnTo>
                  <a:cubicBezTo>
                    <a:pt x="812" y="306"/>
                    <a:pt x="847" y="203"/>
                    <a:pt x="804" y="119"/>
                  </a:cubicBezTo>
                </a:path>
              </a:pathLst>
            </a:custGeom>
            <a:solidFill>
              <a:schemeClr val="accent2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s-ES_tradnl"/>
            </a:p>
          </p:txBody>
        </p:sp>
        <p:sp>
          <p:nvSpPr>
            <p:cNvPr id="9" name="Freeform 41">
              <a:extLst>
                <a:ext uri="{FF2B5EF4-FFF2-40B4-BE49-F238E27FC236}">
                  <a16:creationId xmlns:a16="http://schemas.microsoft.com/office/drawing/2014/main" xmlns="" id="{E601C685-0C24-4EAC-A502-70025E545530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21030460" flipH="1">
              <a:off x="3517846" y="-1166395"/>
              <a:ext cx="286442" cy="284583"/>
            </a:xfrm>
            <a:custGeom>
              <a:avLst/>
              <a:gdLst>
                <a:gd name="T0" fmla="*/ 348 w 391"/>
                <a:gd name="T1" fmla="*/ 119 h 391"/>
                <a:gd name="T2" fmla="*/ 348 w 391"/>
                <a:gd name="T3" fmla="*/ 119 h 391"/>
                <a:gd name="T4" fmla="*/ 118 w 391"/>
                <a:gd name="T5" fmla="*/ 42 h 391"/>
                <a:gd name="T6" fmla="*/ 118 w 391"/>
                <a:gd name="T7" fmla="*/ 42 h 391"/>
                <a:gd name="T8" fmla="*/ 42 w 391"/>
                <a:gd name="T9" fmla="*/ 271 h 391"/>
                <a:gd name="T10" fmla="*/ 42 w 391"/>
                <a:gd name="T11" fmla="*/ 271 h 391"/>
                <a:gd name="T12" fmla="*/ 271 w 391"/>
                <a:gd name="T13" fmla="*/ 348 h 391"/>
                <a:gd name="T14" fmla="*/ 271 w 391"/>
                <a:gd name="T15" fmla="*/ 348 h 391"/>
                <a:gd name="T16" fmla="*/ 348 w 391"/>
                <a:gd name="T17" fmla="*/ 119 h 3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91" h="391">
                  <a:moveTo>
                    <a:pt x="348" y="119"/>
                  </a:moveTo>
                  <a:lnTo>
                    <a:pt x="348" y="119"/>
                  </a:lnTo>
                  <a:cubicBezTo>
                    <a:pt x="305" y="34"/>
                    <a:pt x="203" y="0"/>
                    <a:pt x="118" y="42"/>
                  </a:cubicBezTo>
                  <a:lnTo>
                    <a:pt x="118" y="42"/>
                  </a:lnTo>
                  <a:cubicBezTo>
                    <a:pt x="33" y="84"/>
                    <a:pt x="0" y="187"/>
                    <a:pt x="42" y="271"/>
                  </a:cubicBezTo>
                  <a:lnTo>
                    <a:pt x="42" y="271"/>
                  </a:lnTo>
                  <a:cubicBezTo>
                    <a:pt x="84" y="356"/>
                    <a:pt x="187" y="390"/>
                    <a:pt x="271" y="348"/>
                  </a:cubicBezTo>
                  <a:lnTo>
                    <a:pt x="271" y="348"/>
                  </a:lnTo>
                  <a:cubicBezTo>
                    <a:pt x="355" y="305"/>
                    <a:pt x="390" y="203"/>
                    <a:pt x="348" y="119"/>
                  </a:cubicBezTo>
                </a:path>
              </a:pathLst>
            </a:custGeom>
            <a:solidFill>
              <a:schemeClr val="accent2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s-ES_tradnl"/>
            </a:p>
          </p:txBody>
        </p:sp>
        <p:sp>
          <p:nvSpPr>
            <p:cNvPr id="10" name="Freeform 42">
              <a:extLst>
                <a:ext uri="{FF2B5EF4-FFF2-40B4-BE49-F238E27FC236}">
                  <a16:creationId xmlns:a16="http://schemas.microsoft.com/office/drawing/2014/main" xmlns="" id="{0CE6415C-86DE-4829-88FD-1F291FA64B44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21030460" flipH="1">
              <a:off x="10968557" y="1106599"/>
              <a:ext cx="283226" cy="284583"/>
            </a:xfrm>
            <a:custGeom>
              <a:avLst/>
              <a:gdLst>
                <a:gd name="T0" fmla="*/ 347 w 390"/>
                <a:gd name="T1" fmla="*/ 119 h 392"/>
                <a:gd name="T2" fmla="*/ 347 w 390"/>
                <a:gd name="T3" fmla="*/ 119 h 392"/>
                <a:gd name="T4" fmla="*/ 118 w 390"/>
                <a:gd name="T5" fmla="*/ 42 h 392"/>
                <a:gd name="T6" fmla="*/ 118 w 390"/>
                <a:gd name="T7" fmla="*/ 42 h 392"/>
                <a:gd name="T8" fmla="*/ 42 w 390"/>
                <a:gd name="T9" fmla="*/ 272 h 392"/>
                <a:gd name="T10" fmla="*/ 42 w 390"/>
                <a:gd name="T11" fmla="*/ 272 h 392"/>
                <a:gd name="T12" fmla="*/ 271 w 390"/>
                <a:gd name="T13" fmla="*/ 348 h 392"/>
                <a:gd name="T14" fmla="*/ 271 w 390"/>
                <a:gd name="T15" fmla="*/ 348 h 392"/>
                <a:gd name="T16" fmla="*/ 347 w 390"/>
                <a:gd name="T17" fmla="*/ 119 h 3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90" h="392">
                  <a:moveTo>
                    <a:pt x="347" y="119"/>
                  </a:moveTo>
                  <a:lnTo>
                    <a:pt x="347" y="119"/>
                  </a:lnTo>
                  <a:cubicBezTo>
                    <a:pt x="305" y="35"/>
                    <a:pt x="203" y="0"/>
                    <a:pt x="118" y="42"/>
                  </a:cubicBezTo>
                  <a:lnTo>
                    <a:pt x="118" y="42"/>
                  </a:lnTo>
                  <a:cubicBezTo>
                    <a:pt x="34" y="84"/>
                    <a:pt x="0" y="187"/>
                    <a:pt x="42" y="272"/>
                  </a:cubicBezTo>
                  <a:lnTo>
                    <a:pt x="42" y="272"/>
                  </a:lnTo>
                  <a:cubicBezTo>
                    <a:pt x="84" y="356"/>
                    <a:pt x="186" y="391"/>
                    <a:pt x="271" y="348"/>
                  </a:cubicBezTo>
                  <a:lnTo>
                    <a:pt x="271" y="348"/>
                  </a:lnTo>
                  <a:cubicBezTo>
                    <a:pt x="356" y="306"/>
                    <a:pt x="389" y="203"/>
                    <a:pt x="347" y="119"/>
                  </a:cubicBezTo>
                </a:path>
              </a:pathLst>
            </a:custGeom>
            <a:solidFill>
              <a:schemeClr val="accent2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s-ES_tradnl"/>
            </a:p>
          </p:txBody>
        </p:sp>
      </p:grpSp>
      <p:grpSp>
        <p:nvGrpSpPr>
          <p:cNvPr id="11" name="Gruppieren 10">
            <a:extLst>
              <a:ext uri="{FF2B5EF4-FFF2-40B4-BE49-F238E27FC236}">
                <a16:creationId xmlns:a16="http://schemas.microsoft.com/office/drawing/2014/main" xmlns="" id="{7F3207F8-B8D5-4636-BD43-479139A937EC}"/>
              </a:ext>
            </a:extLst>
          </p:cNvPr>
          <p:cNvGrpSpPr/>
          <p:nvPr userDrawn="1"/>
        </p:nvGrpSpPr>
        <p:grpSpPr>
          <a:xfrm rot="20589661">
            <a:off x="-2613660" y="-110409"/>
            <a:ext cx="7733937" cy="3072844"/>
            <a:chOff x="3517846" y="-1308843"/>
            <a:chExt cx="7733937" cy="3072844"/>
          </a:xfrm>
        </p:grpSpPr>
        <p:sp>
          <p:nvSpPr>
            <p:cNvPr id="12" name="Freeform 39">
              <a:extLst>
                <a:ext uri="{FF2B5EF4-FFF2-40B4-BE49-F238E27FC236}">
                  <a16:creationId xmlns:a16="http://schemas.microsoft.com/office/drawing/2014/main" xmlns="" id="{0C64FEFF-6583-4763-908B-3304BEC38182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21030460" flipH="1">
              <a:off x="4815072" y="-1308843"/>
              <a:ext cx="5902672" cy="3072844"/>
            </a:xfrm>
            <a:custGeom>
              <a:avLst/>
              <a:gdLst>
                <a:gd name="T0" fmla="*/ 8043 w 8086"/>
                <a:gd name="T1" fmla="*/ 118 h 4239"/>
                <a:gd name="T2" fmla="*/ 8043 w 8086"/>
                <a:gd name="T3" fmla="*/ 118 h 4239"/>
                <a:gd name="T4" fmla="*/ 7814 w 8086"/>
                <a:gd name="T5" fmla="*/ 42 h 4239"/>
                <a:gd name="T6" fmla="*/ 119 w 8086"/>
                <a:gd name="T7" fmla="*/ 3890 h 4239"/>
                <a:gd name="T8" fmla="*/ 119 w 8086"/>
                <a:gd name="T9" fmla="*/ 3890 h 4239"/>
                <a:gd name="T10" fmla="*/ 42 w 8086"/>
                <a:gd name="T11" fmla="*/ 4120 h 4239"/>
                <a:gd name="T12" fmla="*/ 42 w 8086"/>
                <a:gd name="T13" fmla="*/ 4120 h 4239"/>
                <a:gd name="T14" fmla="*/ 272 w 8086"/>
                <a:gd name="T15" fmla="*/ 4196 h 4239"/>
                <a:gd name="T16" fmla="*/ 7967 w 8086"/>
                <a:gd name="T17" fmla="*/ 347 h 4239"/>
                <a:gd name="T18" fmla="*/ 7967 w 8086"/>
                <a:gd name="T19" fmla="*/ 347 h 4239"/>
                <a:gd name="T20" fmla="*/ 8043 w 8086"/>
                <a:gd name="T21" fmla="*/ 118 h 4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086" h="4239">
                  <a:moveTo>
                    <a:pt x="8043" y="118"/>
                  </a:moveTo>
                  <a:lnTo>
                    <a:pt x="8043" y="118"/>
                  </a:lnTo>
                  <a:cubicBezTo>
                    <a:pt x="8001" y="34"/>
                    <a:pt x="7898" y="0"/>
                    <a:pt x="7814" y="42"/>
                  </a:cubicBezTo>
                  <a:lnTo>
                    <a:pt x="119" y="3890"/>
                  </a:lnTo>
                  <a:lnTo>
                    <a:pt x="119" y="3890"/>
                  </a:lnTo>
                  <a:cubicBezTo>
                    <a:pt x="34" y="3932"/>
                    <a:pt x="0" y="4035"/>
                    <a:pt x="42" y="4120"/>
                  </a:cubicBezTo>
                  <a:lnTo>
                    <a:pt x="42" y="4120"/>
                  </a:lnTo>
                  <a:cubicBezTo>
                    <a:pt x="84" y="4204"/>
                    <a:pt x="187" y="4238"/>
                    <a:pt x="272" y="4196"/>
                  </a:cubicBezTo>
                  <a:lnTo>
                    <a:pt x="7967" y="347"/>
                  </a:lnTo>
                  <a:lnTo>
                    <a:pt x="7967" y="347"/>
                  </a:lnTo>
                  <a:cubicBezTo>
                    <a:pt x="8051" y="305"/>
                    <a:pt x="8085" y="203"/>
                    <a:pt x="8043" y="118"/>
                  </a:cubicBezTo>
                </a:path>
              </a:pathLst>
            </a:custGeom>
            <a:solidFill>
              <a:schemeClr val="accent2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s-ES_tradnl"/>
            </a:p>
          </p:txBody>
        </p:sp>
        <p:sp>
          <p:nvSpPr>
            <p:cNvPr id="13" name="Freeform 40">
              <a:extLst>
                <a:ext uri="{FF2B5EF4-FFF2-40B4-BE49-F238E27FC236}">
                  <a16:creationId xmlns:a16="http://schemas.microsoft.com/office/drawing/2014/main" xmlns="" id="{9A379D34-8A72-44DB-B385-3F74162270B2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21030460" flipH="1">
              <a:off x="3917855" y="-1077475"/>
              <a:ext cx="617946" cy="450856"/>
            </a:xfrm>
            <a:custGeom>
              <a:avLst/>
              <a:gdLst>
                <a:gd name="T0" fmla="*/ 804 w 848"/>
                <a:gd name="T1" fmla="*/ 119 h 620"/>
                <a:gd name="T2" fmla="*/ 804 w 848"/>
                <a:gd name="T3" fmla="*/ 119 h 620"/>
                <a:gd name="T4" fmla="*/ 576 w 848"/>
                <a:gd name="T5" fmla="*/ 42 h 620"/>
                <a:gd name="T6" fmla="*/ 118 w 848"/>
                <a:gd name="T7" fmla="*/ 271 h 620"/>
                <a:gd name="T8" fmla="*/ 118 w 848"/>
                <a:gd name="T9" fmla="*/ 271 h 620"/>
                <a:gd name="T10" fmla="*/ 41 w 848"/>
                <a:gd name="T11" fmla="*/ 501 h 620"/>
                <a:gd name="T12" fmla="*/ 41 w 848"/>
                <a:gd name="T13" fmla="*/ 501 h 620"/>
                <a:gd name="T14" fmla="*/ 271 w 848"/>
                <a:gd name="T15" fmla="*/ 577 h 620"/>
                <a:gd name="T16" fmla="*/ 727 w 848"/>
                <a:gd name="T17" fmla="*/ 348 h 620"/>
                <a:gd name="T18" fmla="*/ 727 w 848"/>
                <a:gd name="T19" fmla="*/ 348 h 620"/>
                <a:gd name="T20" fmla="*/ 804 w 848"/>
                <a:gd name="T21" fmla="*/ 119 h 6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48" h="620">
                  <a:moveTo>
                    <a:pt x="804" y="119"/>
                  </a:moveTo>
                  <a:lnTo>
                    <a:pt x="804" y="119"/>
                  </a:lnTo>
                  <a:cubicBezTo>
                    <a:pt x="762" y="34"/>
                    <a:pt x="659" y="0"/>
                    <a:pt x="576" y="42"/>
                  </a:cubicBezTo>
                  <a:lnTo>
                    <a:pt x="118" y="271"/>
                  </a:lnTo>
                  <a:lnTo>
                    <a:pt x="118" y="271"/>
                  </a:lnTo>
                  <a:cubicBezTo>
                    <a:pt x="33" y="313"/>
                    <a:pt x="0" y="416"/>
                    <a:pt x="41" y="501"/>
                  </a:cubicBezTo>
                  <a:lnTo>
                    <a:pt x="41" y="501"/>
                  </a:lnTo>
                  <a:cubicBezTo>
                    <a:pt x="83" y="585"/>
                    <a:pt x="186" y="619"/>
                    <a:pt x="271" y="577"/>
                  </a:cubicBezTo>
                  <a:lnTo>
                    <a:pt x="727" y="348"/>
                  </a:lnTo>
                  <a:lnTo>
                    <a:pt x="727" y="348"/>
                  </a:lnTo>
                  <a:cubicBezTo>
                    <a:pt x="812" y="306"/>
                    <a:pt x="847" y="203"/>
                    <a:pt x="804" y="119"/>
                  </a:cubicBezTo>
                </a:path>
              </a:pathLst>
            </a:custGeom>
            <a:solidFill>
              <a:schemeClr val="accent2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s-ES_tradnl"/>
            </a:p>
          </p:txBody>
        </p:sp>
        <p:sp>
          <p:nvSpPr>
            <p:cNvPr id="14" name="Freeform 41">
              <a:extLst>
                <a:ext uri="{FF2B5EF4-FFF2-40B4-BE49-F238E27FC236}">
                  <a16:creationId xmlns:a16="http://schemas.microsoft.com/office/drawing/2014/main" xmlns="" id="{28243C97-127A-43F5-A27F-45DA29BFF302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21030460" flipH="1">
              <a:off x="3517846" y="-1166395"/>
              <a:ext cx="286442" cy="284583"/>
            </a:xfrm>
            <a:custGeom>
              <a:avLst/>
              <a:gdLst>
                <a:gd name="T0" fmla="*/ 348 w 391"/>
                <a:gd name="T1" fmla="*/ 119 h 391"/>
                <a:gd name="T2" fmla="*/ 348 w 391"/>
                <a:gd name="T3" fmla="*/ 119 h 391"/>
                <a:gd name="T4" fmla="*/ 118 w 391"/>
                <a:gd name="T5" fmla="*/ 42 h 391"/>
                <a:gd name="T6" fmla="*/ 118 w 391"/>
                <a:gd name="T7" fmla="*/ 42 h 391"/>
                <a:gd name="T8" fmla="*/ 42 w 391"/>
                <a:gd name="T9" fmla="*/ 271 h 391"/>
                <a:gd name="T10" fmla="*/ 42 w 391"/>
                <a:gd name="T11" fmla="*/ 271 h 391"/>
                <a:gd name="T12" fmla="*/ 271 w 391"/>
                <a:gd name="T13" fmla="*/ 348 h 391"/>
                <a:gd name="T14" fmla="*/ 271 w 391"/>
                <a:gd name="T15" fmla="*/ 348 h 391"/>
                <a:gd name="T16" fmla="*/ 348 w 391"/>
                <a:gd name="T17" fmla="*/ 119 h 3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91" h="391">
                  <a:moveTo>
                    <a:pt x="348" y="119"/>
                  </a:moveTo>
                  <a:lnTo>
                    <a:pt x="348" y="119"/>
                  </a:lnTo>
                  <a:cubicBezTo>
                    <a:pt x="305" y="34"/>
                    <a:pt x="203" y="0"/>
                    <a:pt x="118" y="42"/>
                  </a:cubicBezTo>
                  <a:lnTo>
                    <a:pt x="118" y="42"/>
                  </a:lnTo>
                  <a:cubicBezTo>
                    <a:pt x="33" y="84"/>
                    <a:pt x="0" y="187"/>
                    <a:pt x="42" y="271"/>
                  </a:cubicBezTo>
                  <a:lnTo>
                    <a:pt x="42" y="271"/>
                  </a:lnTo>
                  <a:cubicBezTo>
                    <a:pt x="84" y="356"/>
                    <a:pt x="187" y="390"/>
                    <a:pt x="271" y="348"/>
                  </a:cubicBezTo>
                  <a:lnTo>
                    <a:pt x="271" y="348"/>
                  </a:lnTo>
                  <a:cubicBezTo>
                    <a:pt x="355" y="305"/>
                    <a:pt x="390" y="203"/>
                    <a:pt x="348" y="119"/>
                  </a:cubicBezTo>
                </a:path>
              </a:pathLst>
            </a:custGeom>
            <a:solidFill>
              <a:schemeClr val="accent2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s-ES_tradnl"/>
            </a:p>
          </p:txBody>
        </p:sp>
        <p:sp>
          <p:nvSpPr>
            <p:cNvPr id="15" name="Freeform 42">
              <a:extLst>
                <a:ext uri="{FF2B5EF4-FFF2-40B4-BE49-F238E27FC236}">
                  <a16:creationId xmlns:a16="http://schemas.microsoft.com/office/drawing/2014/main" xmlns="" id="{C4E4C119-A8B6-4503-BA97-993DD8600738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21030460" flipH="1">
              <a:off x="10968557" y="1106599"/>
              <a:ext cx="283226" cy="284583"/>
            </a:xfrm>
            <a:custGeom>
              <a:avLst/>
              <a:gdLst>
                <a:gd name="T0" fmla="*/ 347 w 390"/>
                <a:gd name="T1" fmla="*/ 119 h 392"/>
                <a:gd name="T2" fmla="*/ 347 w 390"/>
                <a:gd name="T3" fmla="*/ 119 h 392"/>
                <a:gd name="T4" fmla="*/ 118 w 390"/>
                <a:gd name="T5" fmla="*/ 42 h 392"/>
                <a:gd name="T6" fmla="*/ 118 w 390"/>
                <a:gd name="T7" fmla="*/ 42 h 392"/>
                <a:gd name="T8" fmla="*/ 42 w 390"/>
                <a:gd name="T9" fmla="*/ 272 h 392"/>
                <a:gd name="T10" fmla="*/ 42 w 390"/>
                <a:gd name="T11" fmla="*/ 272 h 392"/>
                <a:gd name="T12" fmla="*/ 271 w 390"/>
                <a:gd name="T13" fmla="*/ 348 h 392"/>
                <a:gd name="T14" fmla="*/ 271 w 390"/>
                <a:gd name="T15" fmla="*/ 348 h 392"/>
                <a:gd name="T16" fmla="*/ 347 w 390"/>
                <a:gd name="T17" fmla="*/ 119 h 3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90" h="392">
                  <a:moveTo>
                    <a:pt x="347" y="119"/>
                  </a:moveTo>
                  <a:lnTo>
                    <a:pt x="347" y="119"/>
                  </a:lnTo>
                  <a:cubicBezTo>
                    <a:pt x="305" y="35"/>
                    <a:pt x="203" y="0"/>
                    <a:pt x="118" y="42"/>
                  </a:cubicBezTo>
                  <a:lnTo>
                    <a:pt x="118" y="42"/>
                  </a:lnTo>
                  <a:cubicBezTo>
                    <a:pt x="34" y="84"/>
                    <a:pt x="0" y="187"/>
                    <a:pt x="42" y="272"/>
                  </a:cubicBezTo>
                  <a:lnTo>
                    <a:pt x="42" y="272"/>
                  </a:lnTo>
                  <a:cubicBezTo>
                    <a:pt x="84" y="356"/>
                    <a:pt x="186" y="391"/>
                    <a:pt x="271" y="348"/>
                  </a:cubicBezTo>
                  <a:lnTo>
                    <a:pt x="271" y="348"/>
                  </a:lnTo>
                  <a:cubicBezTo>
                    <a:pt x="356" y="306"/>
                    <a:pt x="389" y="203"/>
                    <a:pt x="347" y="119"/>
                  </a:cubicBezTo>
                </a:path>
              </a:pathLst>
            </a:custGeom>
            <a:solidFill>
              <a:schemeClr val="accent2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s-ES_tradnl"/>
            </a:p>
          </p:txBody>
        </p:sp>
      </p:grpSp>
    </p:spTree>
    <p:extLst>
      <p:ext uri="{BB962C8B-B14F-4D97-AF65-F5344CB8AC3E}">
        <p14:creationId xmlns:p14="http://schemas.microsoft.com/office/powerpoint/2010/main" val="3640835855"/>
      </p:ext>
    </p:extLst>
  </p:cSld>
  <p:clrMapOvr>
    <a:masterClrMapping/>
  </p:clrMapOvr>
  <p:extLst>
    <p:ext uri="{DCECCB84-F9BA-43D5-87BE-67443E8EF086}">
      <p15:sldGuideLst xmlns:p15="http://schemas.microsoft.com/office/powerpoint/2012/main" xmlns="">
        <p15:guide id="1" orient="horz" pos="391">
          <p15:clr>
            <a:srgbClr val="FBAE40"/>
          </p15:clr>
        </p15:guide>
        <p15:guide id="3" pos="3840">
          <p15:clr>
            <a:srgbClr val="FBAE40"/>
          </p15:clr>
        </p15:guide>
        <p15:guide id="4" pos="438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intergrund weiß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5E8BE331-C93C-4A62-8706-E5CDAF2B355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6000" y="576000"/>
            <a:ext cx="10515600" cy="427877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3200" baseline="0">
                <a:solidFill>
                  <a:srgbClr val="00A1E3"/>
                </a:solidFill>
                <a:latin typeface="Roboto Medium" panose="02000000000000000000" pitchFamily="2" charset="0"/>
                <a:ea typeface="Roboto Medium" panose="02000000000000000000" pitchFamily="2" charset="0"/>
              </a:defRPr>
            </a:lvl1pPr>
          </a:lstStyle>
          <a:p>
            <a:r>
              <a:rPr lang="en-US" dirty="0" err="1"/>
              <a:t>Hier</a:t>
            </a:r>
            <a:r>
              <a:rPr lang="en-US" dirty="0"/>
              <a:t> </a:t>
            </a:r>
            <a:r>
              <a:rPr lang="en-US" dirty="0" err="1"/>
              <a:t>steht</a:t>
            </a:r>
            <a:r>
              <a:rPr lang="en-US" dirty="0"/>
              <a:t> </a:t>
            </a:r>
            <a:r>
              <a:rPr lang="en-US" dirty="0" err="1"/>
              <a:t>eine</a:t>
            </a:r>
            <a:r>
              <a:rPr lang="en-US" dirty="0"/>
              <a:t> </a:t>
            </a:r>
            <a:r>
              <a:rPr lang="en-US" dirty="0" err="1"/>
              <a:t>Überschrift</a:t>
            </a:r>
            <a:endParaRPr lang="en-IN" dirty="0"/>
          </a:p>
        </p:txBody>
      </p:sp>
      <p:pic>
        <p:nvPicPr>
          <p:cNvPr id="3" name="Grafik 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98487" y="5812971"/>
            <a:ext cx="979279" cy="6714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6360804"/>
      </p:ext>
    </p:extLst>
  </p:cSld>
  <p:clrMapOvr>
    <a:masterClrMapping/>
  </p:clrMapOvr>
  <p:extLst>
    <p:ext uri="{DCECCB84-F9BA-43D5-87BE-67443E8EF086}">
      <p15:sldGuideLst xmlns:p15="http://schemas.microsoft.com/office/powerpoint/2012/main" xmlns="">
        <p15:guide id="1" orient="horz" pos="391">
          <p15:clr>
            <a:srgbClr val="FBAE40"/>
          </p15:clr>
        </p15:guide>
        <p15:guide id="3" pos="3840">
          <p15:clr>
            <a:srgbClr val="FBAE40"/>
          </p15:clr>
        </p15:guide>
        <p15:guide id="4" pos="438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chlussfolie_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5E8BE331-C93C-4A62-8706-E5CDAF2B355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0" y="1921932"/>
            <a:ext cx="12192000" cy="1283280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9000" baseline="0">
                <a:solidFill>
                  <a:srgbClr val="FFFFFF"/>
                </a:solidFill>
                <a:latin typeface="Roboto Bold" panose="02000000000000000000" pitchFamily="2" charset="0"/>
                <a:ea typeface="Roboto Bold" panose="02000000000000000000" pitchFamily="2" charset="0"/>
              </a:defRPr>
            </a:lvl1pPr>
          </a:lstStyle>
          <a:p>
            <a:r>
              <a:rPr lang="en-US" dirty="0" err="1"/>
              <a:t>Danke</a:t>
            </a:r>
            <a:r>
              <a:rPr lang="en-US" dirty="0"/>
              <a:t>!</a:t>
            </a:r>
            <a:endParaRPr lang="en-IN" dirty="0"/>
          </a:p>
        </p:txBody>
      </p:sp>
      <p:sp>
        <p:nvSpPr>
          <p:cNvPr id="29" name="Textplatzhalter 28"/>
          <p:cNvSpPr>
            <a:spLocks noGrp="1"/>
          </p:cNvSpPr>
          <p:nvPr>
            <p:ph type="body" sz="quarter" idx="10" hasCustomPrompt="1"/>
          </p:nvPr>
        </p:nvSpPr>
        <p:spPr>
          <a:xfrm>
            <a:off x="0" y="4468608"/>
            <a:ext cx="12192000" cy="1350911"/>
          </a:xfrm>
          <a:prstGeom prst="rect">
            <a:avLst/>
          </a:prstGeom>
        </p:spPr>
        <p:txBody>
          <a:bodyPr/>
          <a:lstStyle>
            <a:lvl1pPr marL="0" indent="0" algn="ctr">
              <a:buFontTx/>
              <a:buNone/>
              <a:defRPr lang="de-DE" sz="2400" kern="1200" dirty="0" smtClean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+mn-cs"/>
              </a:defRPr>
            </a:lvl1pPr>
            <a:lvl2pPr marL="457200" indent="0">
              <a:buFontTx/>
              <a:buNone/>
              <a:defRPr lang="de-DE" sz="1600" kern="1200" dirty="0" smtClean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+mn-cs"/>
              </a:defRPr>
            </a:lvl2pPr>
            <a:lvl3pPr>
              <a:buFontTx/>
              <a:buNone/>
              <a:defRPr lang="de-DE" sz="1600" kern="1200" dirty="0" smtClean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+mn-cs"/>
              </a:defRPr>
            </a:lvl3pPr>
            <a:lvl4pPr>
              <a:defRPr lang="de-DE" sz="1600" kern="1200" dirty="0" smtClean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+mn-cs"/>
              </a:defRPr>
            </a:lvl4pPr>
          </a:lstStyle>
          <a:p>
            <a:pPr>
              <a:lnSpc>
                <a:spcPts val="2400"/>
              </a:lnSpc>
            </a:pP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Beantworten wir gerne.</a:t>
            </a:r>
          </a:p>
          <a:p>
            <a:pPr>
              <a:lnSpc>
                <a:spcPts val="2400"/>
              </a:lnSpc>
            </a:pP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Stabsstelle Marketing und Kommunikation</a:t>
            </a:r>
          </a:p>
          <a:p>
            <a:pPr>
              <a:lnSpc>
                <a:spcPts val="2400"/>
              </a:lnSpc>
            </a:pP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Sie erreichen uns über: marketing@th-ab.de</a:t>
            </a:r>
          </a:p>
        </p:txBody>
      </p:sp>
      <p:sp>
        <p:nvSpPr>
          <p:cNvPr id="3" name="Abgerundetes Rechteck 2"/>
          <p:cNvSpPr/>
          <p:nvPr userDrawn="1"/>
        </p:nvSpPr>
        <p:spPr>
          <a:xfrm>
            <a:off x="4621530" y="3442080"/>
            <a:ext cx="2948940" cy="76887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xmlns="" id="{A446D049-F822-4B92-BFB6-EE0B8087C4C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0" y="3606900"/>
            <a:ext cx="12192000" cy="51816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lang="en-IN" sz="2800" kern="1200" dirty="0">
                <a:solidFill>
                  <a:schemeClr val="accent2"/>
                </a:solidFill>
                <a:latin typeface="Roboto Bold" panose="02000000000000000000" pitchFamily="2" charset="0"/>
                <a:ea typeface="Roboto Bold" panose="02000000000000000000" pitchFamily="2" charset="0"/>
                <a:cs typeface="+mn-cs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 err="1"/>
              <a:t>Noch</a:t>
            </a:r>
            <a:r>
              <a:rPr lang="en-US" dirty="0"/>
              <a:t> </a:t>
            </a:r>
            <a:r>
              <a:rPr lang="en-US" dirty="0" err="1"/>
              <a:t>Fragen</a:t>
            </a:r>
            <a:r>
              <a:rPr lang="en-US" dirty="0"/>
              <a:t>?</a:t>
            </a:r>
            <a:endParaRPr lang="en-IN" dirty="0"/>
          </a:p>
        </p:txBody>
      </p:sp>
      <p:sp>
        <p:nvSpPr>
          <p:cNvPr id="7" name="Abgerundetes Rechteck 6">
            <a:extLst>
              <a:ext uri="{FF2B5EF4-FFF2-40B4-BE49-F238E27FC236}">
                <a16:creationId xmlns:a16="http://schemas.microsoft.com/office/drawing/2014/main" xmlns="" id="{93B0CCAE-23BE-4C7E-BE98-628F1B5FE181}"/>
              </a:ext>
            </a:extLst>
          </p:cNvPr>
          <p:cNvSpPr/>
          <p:nvPr userDrawn="1"/>
        </p:nvSpPr>
        <p:spPr>
          <a:xfrm>
            <a:off x="9266861" y="4652186"/>
            <a:ext cx="4258491" cy="1876302"/>
          </a:xfrm>
          <a:prstGeom prst="round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xmlns="" id="{9EE910F4-EBB5-40A1-B59C-1B459988032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52356" y="4872116"/>
            <a:ext cx="2102613" cy="14416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9343937"/>
      </p:ext>
    </p:extLst>
  </p:cSld>
  <p:clrMapOvr>
    <a:masterClrMapping/>
  </p:clrMapOvr>
  <p:extLst>
    <p:ext uri="{DCECCB84-F9BA-43D5-87BE-67443E8EF086}">
      <p15:sldGuideLst xmlns:p15="http://schemas.microsoft.com/office/powerpoint/2012/main" xmlns="">
        <p15:guide id="1" orient="horz" pos="391">
          <p15:clr>
            <a:srgbClr val="FBAE40"/>
          </p15:clr>
        </p15:guide>
        <p15:guide id="3" pos="3840">
          <p15:clr>
            <a:srgbClr val="FBAE40"/>
          </p15:clr>
        </p15:guide>
        <p15:guide id="4" pos="438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chlussfolie_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5E8BE331-C93C-4A62-8706-E5CDAF2B355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0" y="1921932"/>
            <a:ext cx="12192000" cy="1283280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9000" baseline="0">
                <a:solidFill>
                  <a:srgbClr val="FFFFFF"/>
                </a:solidFill>
                <a:latin typeface="Roboto Bold" panose="02000000000000000000" pitchFamily="2" charset="0"/>
                <a:ea typeface="Roboto Bold" panose="02000000000000000000" pitchFamily="2" charset="0"/>
              </a:defRPr>
            </a:lvl1pPr>
          </a:lstStyle>
          <a:p>
            <a:r>
              <a:rPr lang="en-US" dirty="0" err="1"/>
              <a:t>Danke</a:t>
            </a:r>
            <a:r>
              <a:rPr lang="en-US" dirty="0"/>
              <a:t>!</a:t>
            </a:r>
            <a:endParaRPr lang="en-IN" dirty="0"/>
          </a:p>
        </p:txBody>
      </p:sp>
      <p:sp>
        <p:nvSpPr>
          <p:cNvPr id="29" name="Textplatzhalter 28"/>
          <p:cNvSpPr>
            <a:spLocks noGrp="1"/>
          </p:cNvSpPr>
          <p:nvPr>
            <p:ph type="body" sz="quarter" idx="10" hasCustomPrompt="1"/>
          </p:nvPr>
        </p:nvSpPr>
        <p:spPr>
          <a:xfrm>
            <a:off x="0" y="4468608"/>
            <a:ext cx="12192000" cy="1350911"/>
          </a:xfrm>
          <a:prstGeom prst="rect">
            <a:avLst/>
          </a:prstGeom>
        </p:spPr>
        <p:txBody>
          <a:bodyPr/>
          <a:lstStyle>
            <a:lvl1pPr marL="0" indent="0" algn="ctr">
              <a:buFontTx/>
              <a:buNone/>
              <a:defRPr lang="de-DE" sz="2400" kern="1200" dirty="0" smtClean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+mn-cs"/>
              </a:defRPr>
            </a:lvl1pPr>
            <a:lvl2pPr marL="457200" indent="0">
              <a:buFontTx/>
              <a:buNone/>
              <a:defRPr lang="de-DE" sz="1600" kern="1200" dirty="0" smtClean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+mn-cs"/>
              </a:defRPr>
            </a:lvl2pPr>
            <a:lvl3pPr>
              <a:buFontTx/>
              <a:buNone/>
              <a:defRPr lang="de-DE" sz="1600" kern="1200" dirty="0" smtClean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+mn-cs"/>
              </a:defRPr>
            </a:lvl3pPr>
            <a:lvl4pPr>
              <a:defRPr lang="de-DE" sz="1600" kern="1200" dirty="0" smtClean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+mn-cs"/>
              </a:defRPr>
            </a:lvl4pPr>
          </a:lstStyle>
          <a:p>
            <a:pPr>
              <a:lnSpc>
                <a:spcPts val="2400"/>
              </a:lnSpc>
            </a:pP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Beantworten wir gerne.</a:t>
            </a:r>
          </a:p>
          <a:p>
            <a:pPr>
              <a:lnSpc>
                <a:spcPts val="2400"/>
              </a:lnSpc>
            </a:pP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Stabsstelle Marketing und Kommunikation</a:t>
            </a:r>
          </a:p>
          <a:p>
            <a:pPr>
              <a:lnSpc>
                <a:spcPts val="2400"/>
              </a:lnSpc>
            </a:pP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Sie erreichen uns über: marketing@th-ab.de</a:t>
            </a:r>
          </a:p>
        </p:txBody>
      </p:sp>
      <p:sp>
        <p:nvSpPr>
          <p:cNvPr id="3" name="Abgerundetes Rechteck 2"/>
          <p:cNvSpPr/>
          <p:nvPr userDrawn="1"/>
        </p:nvSpPr>
        <p:spPr>
          <a:xfrm>
            <a:off x="4621530" y="3442080"/>
            <a:ext cx="2948940" cy="76887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xmlns="" id="{A446D049-F822-4B92-BFB6-EE0B8087C4C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0" y="3606900"/>
            <a:ext cx="12192000" cy="51816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lang="en-IN" sz="2800" kern="1200" dirty="0">
                <a:solidFill>
                  <a:schemeClr val="accent2"/>
                </a:solidFill>
                <a:latin typeface="Roboto Bold" panose="02000000000000000000" pitchFamily="2" charset="0"/>
                <a:ea typeface="Roboto Bold" panose="02000000000000000000" pitchFamily="2" charset="0"/>
                <a:cs typeface="+mn-cs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 err="1"/>
              <a:t>Noch</a:t>
            </a:r>
            <a:r>
              <a:rPr lang="en-US" dirty="0"/>
              <a:t> </a:t>
            </a:r>
            <a:r>
              <a:rPr lang="en-US" dirty="0" err="1"/>
              <a:t>Fragen</a:t>
            </a:r>
            <a:r>
              <a:rPr lang="en-US" dirty="0"/>
              <a:t>?</a:t>
            </a:r>
            <a:endParaRPr lang="en-IN" dirty="0"/>
          </a:p>
        </p:txBody>
      </p:sp>
      <p:sp>
        <p:nvSpPr>
          <p:cNvPr id="7" name="Abgerundetes Rechteck 6">
            <a:extLst>
              <a:ext uri="{FF2B5EF4-FFF2-40B4-BE49-F238E27FC236}">
                <a16:creationId xmlns:a16="http://schemas.microsoft.com/office/drawing/2014/main" xmlns="" id="{93B0CCAE-23BE-4C7E-BE98-628F1B5FE181}"/>
              </a:ext>
            </a:extLst>
          </p:cNvPr>
          <p:cNvSpPr/>
          <p:nvPr userDrawn="1"/>
        </p:nvSpPr>
        <p:spPr>
          <a:xfrm>
            <a:off x="9266861" y="4652186"/>
            <a:ext cx="4258491" cy="1876302"/>
          </a:xfrm>
          <a:prstGeom prst="round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xmlns="" id="{9EE910F4-EBB5-40A1-B59C-1B459988032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52356" y="4872116"/>
            <a:ext cx="2102613" cy="1441642"/>
          </a:xfrm>
          <a:prstGeom prst="rect">
            <a:avLst/>
          </a:prstGeom>
        </p:spPr>
      </p:pic>
      <p:grpSp>
        <p:nvGrpSpPr>
          <p:cNvPr id="9" name="Group 398">
            <a:extLst>
              <a:ext uri="{FF2B5EF4-FFF2-40B4-BE49-F238E27FC236}">
                <a16:creationId xmlns:a16="http://schemas.microsoft.com/office/drawing/2014/main" xmlns="" id="{026D2110-AC76-4715-BF83-B40AD1DF67BE}"/>
              </a:ext>
            </a:extLst>
          </p:cNvPr>
          <p:cNvGrpSpPr/>
          <p:nvPr userDrawn="1"/>
        </p:nvGrpSpPr>
        <p:grpSpPr>
          <a:xfrm rot="10800000" flipH="1">
            <a:off x="-3344845" y="-2433663"/>
            <a:ext cx="14922466" cy="4506760"/>
            <a:chOff x="-2422178" y="5261733"/>
            <a:chExt cx="14922466" cy="4506760"/>
          </a:xfrm>
        </p:grpSpPr>
        <p:sp>
          <p:nvSpPr>
            <p:cNvPr id="11" name="Freeform 30">
              <a:extLst>
                <a:ext uri="{FF2B5EF4-FFF2-40B4-BE49-F238E27FC236}">
                  <a16:creationId xmlns:a16="http://schemas.microsoft.com/office/drawing/2014/main" xmlns="" id="{88D7F089-9463-4B22-A2CB-A87CBBD2FC56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11369540">
              <a:off x="4650590" y="6327328"/>
              <a:ext cx="5899454" cy="3076040"/>
            </a:xfrm>
            <a:custGeom>
              <a:avLst/>
              <a:gdLst>
                <a:gd name="T0" fmla="*/ 42 w 8085"/>
                <a:gd name="T1" fmla="*/ 4120 h 4240"/>
                <a:gd name="T2" fmla="*/ 42 w 8085"/>
                <a:gd name="T3" fmla="*/ 4120 h 4240"/>
                <a:gd name="T4" fmla="*/ 271 w 8085"/>
                <a:gd name="T5" fmla="*/ 4197 h 4240"/>
                <a:gd name="T6" fmla="*/ 7966 w 8085"/>
                <a:gd name="T7" fmla="*/ 348 h 4240"/>
                <a:gd name="T8" fmla="*/ 7966 w 8085"/>
                <a:gd name="T9" fmla="*/ 348 h 4240"/>
                <a:gd name="T10" fmla="*/ 8042 w 8085"/>
                <a:gd name="T11" fmla="*/ 119 h 4240"/>
                <a:gd name="T12" fmla="*/ 8042 w 8085"/>
                <a:gd name="T13" fmla="*/ 119 h 4240"/>
                <a:gd name="T14" fmla="*/ 7813 w 8085"/>
                <a:gd name="T15" fmla="*/ 42 h 4240"/>
                <a:gd name="T16" fmla="*/ 119 w 8085"/>
                <a:gd name="T17" fmla="*/ 3891 h 4240"/>
                <a:gd name="T18" fmla="*/ 119 w 8085"/>
                <a:gd name="T19" fmla="*/ 3891 h 4240"/>
                <a:gd name="T20" fmla="*/ 42 w 8085"/>
                <a:gd name="T21" fmla="*/ 4120 h 42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085" h="4240">
                  <a:moveTo>
                    <a:pt x="42" y="4120"/>
                  </a:moveTo>
                  <a:lnTo>
                    <a:pt x="42" y="4120"/>
                  </a:lnTo>
                  <a:cubicBezTo>
                    <a:pt x="85" y="4205"/>
                    <a:pt x="187" y="4239"/>
                    <a:pt x="271" y="4197"/>
                  </a:cubicBezTo>
                  <a:lnTo>
                    <a:pt x="7966" y="348"/>
                  </a:lnTo>
                  <a:lnTo>
                    <a:pt x="7966" y="348"/>
                  </a:lnTo>
                  <a:cubicBezTo>
                    <a:pt x="8051" y="306"/>
                    <a:pt x="8084" y="203"/>
                    <a:pt x="8042" y="119"/>
                  </a:cubicBezTo>
                  <a:lnTo>
                    <a:pt x="8042" y="119"/>
                  </a:lnTo>
                  <a:cubicBezTo>
                    <a:pt x="8000" y="35"/>
                    <a:pt x="7897" y="0"/>
                    <a:pt x="7813" y="42"/>
                  </a:cubicBezTo>
                  <a:lnTo>
                    <a:pt x="119" y="3891"/>
                  </a:lnTo>
                  <a:lnTo>
                    <a:pt x="119" y="3891"/>
                  </a:lnTo>
                  <a:cubicBezTo>
                    <a:pt x="34" y="3933"/>
                    <a:pt x="0" y="4036"/>
                    <a:pt x="42" y="4120"/>
                  </a:cubicBezTo>
                </a:path>
              </a:pathLst>
            </a:custGeom>
            <a:solidFill>
              <a:schemeClr val="accent3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s-ES_tradnl"/>
            </a:p>
          </p:txBody>
        </p:sp>
        <p:sp>
          <p:nvSpPr>
            <p:cNvPr id="12" name="Freeform 31">
              <a:extLst>
                <a:ext uri="{FF2B5EF4-FFF2-40B4-BE49-F238E27FC236}">
                  <a16:creationId xmlns:a16="http://schemas.microsoft.com/office/drawing/2014/main" xmlns="" id="{A50D1127-9CE6-4BC0-B2E8-1874C6BCD62B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11369540">
              <a:off x="10881397" y="6141214"/>
              <a:ext cx="1618891" cy="946474"/>
            </a:xfrm>
            <a:custGeom>
              <a:avLst/>
              <a:gdLst>
                <a:gd name="T0" fmla="*/ 42 w 2217"/>
                <a:gd name="T1" fmla="*/ 1184 h 1304"/>
                <a:gd name="T2" fmla="*/ 42 w 2217"/>
                <a:gd name="T3" fmla="*/ 1184 h 1304"/>
                <a:gd name="T4" fmla="*/ 272 w 2217"/>
                <a:gd name="T5" fmla="*/ 1261 h 1304"/>
                <a:gd name="T6" fmla="*/ 2097 w 2217"/>
                <a:gd name="T7" fmla="*/ 348 h 1304"/>
                <a:gd name="T8" fmla="*/ 2097 w 2217"/>
                <a:gd name="T9" fmla="*/ 348 h 1304"/>
                <a:gd name="T10" fmla="*/ 2174 w 2217"/>
                <a:gd name="T11" fmla="*/ 119 h 1304"/>
                <a:gd name="T12" fmla="*/ 2174 w 2217"/>
                <a:gd name="T13" fmla="*/ 119 h 1304"/>
                <a:gd name="T14" fmla="*/ 1945 w 2217"/>
                <a:gd name="T15" fmla="*/ 42 h 1304"/>
                <a:gd name="T16" fmla="*/ 118 w 2217"/>
                <a:gd name="T17" fmla="*/ 955 h 1304"/>
                <a:gd name="T18" fmla="*/ 118 w 2217"/>
                <a:gd name="T19" fmla="*/ 955 h 1304"/>
                <a:gd name="T20" fmla="*/ 42 w 2217"/>
                <a:gd name="T21" fmla="*/ 1184 h 13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217" h="1304">
                  <a:moveTo>
                    <a:pt x="42" y="1184"/>
                  </a:moveTo>
                  <a:lnTo>
                    <a:pt x="42" y="1184"/>
                  </a:lnTo>
                  <a:cubicBezTo>
                    <a:pt x="84" y="1269"/>
                    <a:pt x="187" y="1303"/>
                    <a:pt x="272" y="1261"/>
                  </a:cubicBezTo>
                  <a:lnTo>
                    <a:pt x="2097" y="348"/>
                  </a:lnTo>
                  <a:lnTo>
                    <a:pt x="2097" y="348"/>
                  </a:lnTo>
                  <a:cubicBezTo>
                    <a:pt x="2182" y="305"/>
                    <a:pt x="2216" y="202"/>
                    <a:pt x="2174" y="119"/>
                  </a:cubicBezTo>
                  <a:lnTo>
                    <a:pt x="2174" y="119"/>
                  </a:lnTo>
                  <a:cubicBezTo>
                    <a:pt x="2132" y="34"/>
                    <a:pt x="2029" y="0"/>
                    <a:pt x="1945" y="42"/>
                  </a:cubicBezTo>
                  <a:lnTo>
                    <a:pt x="118" y="955"/>
                  </a:lnTo>
                  <a:lnTo>
                    <a:pt x="118" y="955"/>
                  </a:lnTo>
                  <a:cubicBezTo>
                    <a:pt x="34" y="997"/>
                    <a:pt x="0" y="1100"/>
                    <a:pt x="42" y="1184"/>
                  </a:cubicBezTo>
                </a:path>
              </a:pathLst>
            </a:custGeom>
            <a:solidFill>
              <a:schemeClr val="accent3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s-ES_tradnl"/>
            </a:p>
          </p:txBody>
        </p:sp>
        <p:sp>
          <p:nvSpPr>
            <p:cNvPr id="13" name="Freeform 32">
              <a:extLst>
                <a:ext uri="{FF2B5EF4-FFF2-40B4-BE49-F238E27FC236}">
                  <a16:creationId xmlns:a16="http://schemas.microsoft.com/office/drawing/2014/main" xmlns="" id="{4CB51C9A-059C-4226-BD7A-3FC9B9C6A809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11369540">
              <a:off x="5431363" y="6515404"/>
              <a:ext cx="5902672" cy="3076040"/>
            </a:xfrm>
            <a:custGeom>
              <a:avLst/>
              <a:gdLst>
                <a:gd name="T0" fmla="*/ 42 w 8086"/>
                <a:gd name="T1" fmla="*/ 4120 h 4240"/>
                <a:gd name="T2" fmla="*/ 42 w 8086"/>
                <a:gd name="T3" fmla="*/ 4120 h 4240"/>
                <a:gd name="T4" fmla="*/ 271 w 8086"/>
                <a:gd name="T5" fmla="*/ 4196 h 4240"/>
                <a:gd name="T6" fmla="*/ 7966 w 8086"/>
                <a:gd name="T7" fmla="*/ 348 h 4240"/>
                <a:gd name="T8" fmla="*/ 7966 w 8086"/>
                <a:gd name="T9" fmla="*/ 348 h 4240"/>
                <a:gd name="T10" fmla="*/ 8043 w 8086"/>
                <a:gd name="T11" fmla="*/ 119 h 4240"/>
                <a:gd name="T12" fmla="*/ 8043 w 8086"/>
                <a:gd name="T13" fmla="*/ 119 h 4240"/>
                <a:gd name="T14" fmla="*/ 7814 w 8086"/>
                <a:gd name="T15" fmla="*/ 42 h 4240"/>
                <a:gd name="T16" fmla="*/ 118 w 8086"/>
                <a:gd name="T17" fmla="*/ 3891 h 4240"/>
                <a:gd name="T18" fmla="*/ 118 w 8086"/>
                <a:gd name="T19" fmla="*/ 3891 h 4240"/>
                <a:gd name="T20" fmla="*/ 42 w 8086"/>
                <a:gd name="T21" fmla="*/ 4120 h 42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086" h="4240">
                  <a:moveTo>
                    <a:pt x="42" y="4120"/>
                  </a:moveTo>
                  <a:lnTo>
                    <a:pt x="42" y="4120"/>
                  </a:lnTo>
                  <a:cubicBezTo>
                    <a:pt x="84" y="4204"/>
                    <a:pt x="187" y="4239"/>
                    <a:pt x="271" y="4196"/>
                  </a:cubicBezTo>
                  <a:lnTo>
                    <a:pt x="7966" y="348"/>
                  </a:lnTo>
                  <a:lnTo>
                    <a:pt x="7966" y="348"/>
                  </a:lnTo>
                  <a:cubicBezTo>
                    <a:pt x="8051" y="305"/>
                    <a:pt x="8085" y="203"/>
                    <a:pt x="8043" y="119"/>
                  </a:cubicBezTo>
                  <a:lnTo>
                    <a:pt x="8043" y="119"/>
                  </a:lnTo>
                  <a:cubicBezTo>
                    <a:pt x="8001" y="34"/>
                    <a:pt x="7898" y="0"/>
                    <a:pt x="7814" y="42"/>
                  </a:cubicBezTo>
                  <a:lnTo>
                    <a:pt x="118" y="3891"/>
                  </a:lnTo>
                  <a:lnTo>
                    <a:pt x="118" y="3891"/>
                  </a:lnTo>
                  <a:cubicBezTo>
                    <a:pt x="34" y="3933"/>
                    <a:pt x="0" y="4036"/>
                    <a:pt x="42" y="4120"/>
                  </a:cubicBezTo>
                </a:path>
              </a:pathLst>
            </a:custGeom>
            <a:solidFill>
              <a:schemeClr val="accent4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s-ES_tradnl"/>
            </a:p>
          </p:txBody>
        </p:sp>
        <p:sp>
          <p:nvSpPr>
            <p:cNvPr id="14" name="Freeform 33">
              <a:extLst>
                <a:ext uri="{FF2B5EF4-FFF2-40B4-BE49-F238E27FC236}">
                  <a16:creationId xmlns:a16="http://schemas.microsoft.com/office/drawing/2014/main" xmlns="" id="{BE3939B3-67C3-48C3-9D31-F57E60785C57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11369540">
              <a:off x="11606436" y="6832104"/>
              <a:ext cx="418401" cy="348532"/>
            </a:xfrm>
            <a:custGeom>
              <a:avLst/>
              <a:gdLst>
                <a:gd name="T0" fmla="*/ 42 w 574"/>
                <a:gd name="T1" fmla="*/ 362 h 482"/>
                <a:gd name="T2" fmla="*/ 42 w 574"/>
                <a:gd name="T3" fmla="*/ 362 h 482"/>
                <a:gd name="T4" fmla="*/ 272 w 574"/>
                <a:gd name="T5" fmla="*/ 439 h 482"/>
                <a:gd name="T6" fmla="*/ 455 w 574"/>
                <a:gd name="T7" fmla="*/ 348 h 482"/>
                <a:gd name="T8" fmla="*/ 455 w 574"/>
                <a:gd name="T9" fmla="*/ 348 h 482"/>
                <a:gd name="T10" fmla="*/ 531 w 574"/>
                <a:gd name="T11" fmla="*/ 119 h 482"/>
                <a:gd name="T12" fmla="*/ 531 w 574"/>
                <a:gd name="T13" fmla="*/ 119 h 482"/>
                <a:gd name="T14" fmla="*/ 301 w 574"/>
                <a:gd name="T15" fmla="*/ 42 h 482"/>
                <a:gd name="T16" fmla="*/ 119 w 574"/>
                <a:gd name="T17" fmla="*/ 133 h 482"/>
                <a:gd name="T18" fmla="*/ 119 w 574"/>
                <a:gd name="T19" fmla="*/ 133 h 482"/>
                <a:gd name="T20" fmla="*/ 42 w 574"/>
                <a:gd name="T21" fmla="*/ 362 h 4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74" h="482">
                  <a:moveTo>
                    <a:pt x="42" y="362"/>
                  </a:moveTo>
                  <a:lnTo>
                    <a:pt x="42" y="362"/>
                  </a:lnTo>
                  <a:cubicBezTo>
                    <a:pt x="84" y="447"/>
                    <a:pt x="187" y="481"/>
                    <a:pt x="272" y="439"/>
                  </a:cubicBezTo>
                  <a:lnTo>
                    <a:pt x="455" y="348"/>
                  </a:lnTo>
                  <a:lnTo>
                    <a:pt x="455" y="348"/>
                  </a:lnTo>
                  <a:cubicBezTo>
                    <a:pt x="539" y="306"/>
                    <a:pt x="573" y="203"/>
                    <a:pt x="531" y="119"/>
                  </a:cubicBezTo>
                  <a:lnTo>
                    <a:pt x="531" y="119"/>
                  </a:lnTo>
                  <a:cubicBezTo>
                    <a:pt x="488" y="34"/>
                    <a:pt x="386" y="0"/>
                    <a:pt x="301" y="42"/>
                  </a:cubicBezTo>
                  <a:lnTo>
                    <a:pt x="119" y="133"/>
                  </a:lnTo>
                  <a:lnTo>
                    <a:pt x="119" y="133"/>
                  </a:lnTo>
                  <a:cubicBezTo>
                    <a:pt x="34" y="176"/>
                    <a:pt x="0" y="278"/>
                    <a:pt x="42" y="362"/>
                  </a:cubicBezTo>
                </a:path>
              </a:pathLst>
            </a:custGeom>
            <a:solidFill>
              <a:schemeClr val="accent4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s-ES_tradnl"/>
            </a:p>
          </p:txBody>
        </p:sp>
        <p:sp>
          <p:nvSpPr>
            <p:cNvPr id="15" name="Freeform 34">
              <a:extLst>
                <a:ext uri="{FF2B5EF4-FFF2-40B4-BE49-F238E27FC236}">
                  <a16:creationId xmlns:a16="http://schemas.microsoft.com/office/drawing/2014/main" xmlns="" id="{EC5E2B3D-C41A-49A2-B630-67EC30995174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11369540">
              <a:off x="12128624" y="6722491"/>
              <a:ext cx="286444" cy="284583"/>
            </a:xfrm>
            <a:custGeom>
              <a:avLst/>
              <a:gdLst>
                <a:gd name="T0" fmla="*/ 43 w 392"/>
                <a:gd name="T1" fmla="*/ 272 h 392"/>
                <a:gd name="T2" fmla="*/ 43 w 392"/>
                <a:gd name="T3" fmla="*/ 272 h 392"/>
                <a:gd name="T4" fmla="*/ 272 w 392"/>
                <a:gd name="T5" fmla="*/ 349 h 392"/>
                <a:gd name="T6" fmla="*/ 272 w 392"/>
                <a:gd name="T7" fmla="*/ 349 h 392"/>
                <a:gd name="T8" fmla="*/ 349 w 392"/>
                <a:gd name="T9" fmla="*/ 119 h 392"/>
                <a:gd name="T10" fmla="*/ 349 w 392"/>
                <a:gd name="T11" fmla="*/ 119 h 392"/>
                <a:gd name="T12" fmla="*/ 120 w 392"/>
                <a:gd name="T13" fmla="*/ 43 h 392"/>
                <a:gd name="T14" fmla="*/ 120 w 392"/>
                <a:gd name="T15" fmla="*/ 43 h 392"/>
                <a:gd name="T16" fmla="*/ 43 w 392"/>
                <a:gd name="T17" fmla="*/ 272 h 3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92" h="392">
                  <a:moveTo>
                    <a:pt x="43" y="272"/>
                  </a:moveTo>
                  <a:lnTo>
                    <a:pt x="43" y="272"/>
                  </a:lnTo>
                  <a:cubicBezTo>
                    <a:pt x="85" y="356"/>
                    <a:pt x="188" y="391"/>
                    <a:pt x="272" y="349"/>
                  </a:cubicBezTo>
                  <a:lnTo>
                    <a:pt x="272" y="349"/>
                  </a:lnTo>
                  <a:cubicBezTo>
                    <a:pt x="357" y="306"/>
                    <a:pt x="391" y="204"/>
                    <a:pt x="349" y="119"/>
                  </a:cubicBezTo>
                  <a:lnTo>
                    <a:pt x="349" y="119"/>
                  </a:lnTo>
                  <a:cubicBezTo>
                    <a:pt x="306" y="34"/>
                    <a:pt x="203" y="0"/>
                    <a:pt x="120" y="43"/>
                  </a:cubicBezTo>
                  <a:lnTo>
                    <a:pt x="120" y="43"/>
                  </a:lnTo>
                  <a:cubicBezTo>
                    <a:pt x="35" y="85"/>
                    <a:pt x="0" y="188"/>
                    <a:pt x="43" y="272"/>
                  </a:cubicBezTo>
                </a:path>
              </a:pathLst>
            </a:custGeom>
            <a:solidFill>
              <a:schemeClr val="accent4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s-ES_tradnl"/>
            </a:p>
          </p:txBody>
        </p:sp>
        <p:sp>
          <p:nvSpPr>
            <p:cNvPr id="16" name="Freeform 35">
              <a:extLst>
                <a:ext uri="{FF2B5EF4-FFF2-40B4-BE49-F238E27FC236}">
                  <a16:creationId xmlns:a16="http://schemas.microsoft.com/office/drawing/2014/main" xmlns="" id="{A00B6B8A-C9CC-43AE-9E75-007B74022EAE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11369540">
              <a:off x="4897036" y="8934284"/>
              <a:ext cx="286444" cy="284583"/>
            </a:xfrm>
            <a:custGeom>
              <a:avLst/>
              <a:gdLst>
                <a:gd name="T0" fmla="*/ 42 w 392"/>
                <a:gd name="T1" fmla="*/ 272 h 392"/>
                <a:gd name="T2" fmla="*/ 42 w 392"/>
                <a:gd name="T3" fmla="*/ 272 h 392"/>
                <a:gd name="T4" fmla="*/ 272 w 392"/>
                <a:gd name="T5" fmla="*/ 349 h 392"/>
                <a:gd name="T6" fmla="*/ 272 w 392"/>
                <a:gd name="T7" fmla="*/ 349 h 392"/>
                <a:gd name="T8" fmla="*/ 348 w 392"/>
                <a:gd name="T9" fmla="*/ 119 h 392"/>
                <a:gd name="T10" fmla="*/ 348 w 392"/>
                <a:gd name="T11" fmla="*/ 119 h 392"/>
                <a:gd name="T12" fmla="*/ 119 w 392"/>
                <a:gd name="T13" fmla="*/ 43 h 392"/>
                <a:gd name="T14" fmla="*/ 119 w 392"/>
                <a:gd name="T15" fmla="*/ 43 h 392"/>
                <a:gd name="T16" fmla="*/ 42 w 392"/>
                <a:gd name="T17" fmla="*/ 272 h 3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92" h="392">
                  <a:moveTo>
                    <a:pt x="42" y="272"/>
                  </a:moveTo>
                  <a:lnTo>
                    <a:pt x="42" y="272"/>
                  </a:lnTo>
                  <a:cubicBezTo>
                    <a:pt x="85" y="357"/>
                    <a:pt x="188" y="391"/>
                    <a:pt x="272" y="349"/>
                  </a:cubicBezTo>
                  <a:lnTo>
                    <a:pt x="272" y="349"/>
                  </a:lnTo>
                  <a:cubicBezTo>
                    <a:pt x="356" y="306"/>
                    <a:pt x="391" y="204"/>
                    <a:pt x="348" y="119"/>
                  </a:cubicBezTo>
                  <a:lnTo>
                    <a:pt x="348" y="119"/>
                  </a:lnTo>
                  <a:cubicBezTo>
                    <a:pt x="306" y="35"/>
                    <a:pt x="203" y="0"/>
                    <a:pt x="119" y="43"/>
                  </a:cubicBezTo>
                  <a:lnTo>
                    <a:pt x="119" y="43"/>
                  </a:lnTo>
                  <a:cubicBezTo>
                    <a:pt x="34" y="85"/>
                    <a:pt x="0" y="188"/>
                    <a:pt x="42" y="272"/>
                  </a:cubicBezTo>
                </a:path>
              </a:pathLst>
            </a:custGeom>
            <a:solidFill>
              <a:schemeClr val="accent4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s-ES_tradnl"/>
            </a:p>
          </p:txBody>
        </p:sp>
        <p:sp>
          <p:nvSpPr>
            <p:cNvPr id="17" name="Freeform 36">
              <a:extLst>
                <a:ext uri="{FF2B5EF4-FFF2-40B4-BE49-F238E27FC236}">
                  <a16:creationId xmlns:a16="http://schemas.microsoft.com/office/drawing/2014/main" xmlns="" id="{F42837EC-E867-4C5A-92D2-5FA669A41F69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11369540">
              <a:off x="4950087" y="5384855"/>
              <a:ext cx="5899452" cy="3072842"/>
            </a:xfrm>
            <a:custGeom>
              <a:avLst/>
              <a:gdLst>
                <a:gd name="T0" fmla="*/ 42 w 8085"/>
                <a:gd name="T1" fmla="*/ 4120 h 4239"/>
                <a:gd name="T2" fmla="*/ 42 w 8085"/>
                <a:gd name="T3" fmla="*/ 4120 h 4239"/>
                <a:gd name="T4" fmla="*/ 272 w 8085"/>
                <a:gd name="T5" fmla="*/ 4197 h 4239"/>
                <a:gd name="T6" fmla="*/ 7966 w 8085"/>
                <a:gd name="T7" fmla="*/ 348 h 4239"/>
                <a:gd name="T8" fmla="*/ 7966 w 8085"/>
                <a:gd name="T9" fmla="*/ 348 h 4239"/>
                <a:gd name="T10" fmla="*/ 8042 w 8085"/>
                <a:gd name="T11" fmla="*/ 119 h 4239"/>
                <a:gd name="T12" fmla="*/ 8042 w 8085"/>
                <a:gd name="T13" fmla="*/ 119 h 4239"/>
                <a:gd name="T14" fmla="*/ 7813 w 8085"/>
                <a:gd name="T15" fmla="*/ 42 h 4239"/>
                <a:gd name="T16" fmla="*/ 119 w 8085"/>
                <a:gd name="T17" fmla="*/ 3891 h 4239"/>
                <a:gd name="T18" fmla="*/ 119 w 8085"/>
                <a:gd name="T19" fmla="*/ 3891 h 4239"/>
                <a:gd name="T20" fmla="*/ 42 w 8085"/>
                <a:gd name="T21" fmla="*/ 4120 h 4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085" h="4239">
                  <a:moveTo>
                    <a:pt x="42" y="4120"/>
                  </a:moveTo>
                  <a:lnTo>
                    <a:pt x="42" y="4120"/>
                  </a:lnTo>
                  <a:cubicBezTo>
                    <a:pt x="85" y="4204"/>
                    <a:pt x="187" y="4238"/>
                    <a:pt x="272" y="4197"/>
                  </a:cubicBezTo>
                  <a:lnTo>
                    <a:pt x="7966" y="348"/>
                  </a:lnTo>
                  <a:lnTo>
                    <a:pt x="7966" y="348"/>
                  </a:lnTo>
                  <a:cubicBezTo>
                    <a:pt x="8051" y="306"/>
                    <a:pt x="8084" y="203"/>
                    <a:pt x="8042" y="119"/>
                  </a:cubicBezTo>
                  <a:lnTo>
                    <a:pt x="8042" y="119"/>
                  </a:lnTo>
                  <a:cubicBezTo>
                    <a:pt x="8000" y="34"/>
                    <a:pt x="7898" y="0"/>
                    <a:pt x="7813" y="42"/>
                  </a:cubicBezTo>
                  <a:lnTo>
                    <a:pt x="119" y="3891"/>
                  </a:lnTo>
                  <a:lnTo>
                    <a:pt x="119" y="3891"/>
                  </a:lnTo>
                  <a:cubicBezTo>
                    <a:pt x="34" y="3933"/>
                    <a:pt x="0" y="4036"/>
                    <a:pt x="42" y="4120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s-ES_tradnl"/>
            </a:p>
          </p:txBody>
        </p:sp>
        <p:sp>
          <p:nvSpPr>
            <p:cNvPr id="18" name="Freeform 37">
              <a:extLst>
                <a:ext uri="{FF2B5EF4-FFF2-40B4-BE49-F238E27FC236}">
                  <a16:creationId xmlns:a16="http://schemas.microsoft.com/office/drawing/2014/main" xmlns="" id="{8DEAEE0E-98D3-413E-80F6-E6DF5130BA46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11369540">
              <a:off x="6276581" y="6249359"/>
              <a:ext cx="621163" cy="450856"/>
            </a:xfrm>
            <a:custGeom>
              <a:avLst/>
              <a:gdLst>
                <a:gd name="T0" fmla="*/ 42 w 849"/>
                <a:gd name="T1" fmla="*/ 501 h 620"/>
                <a:gd name="T2" fmla="*/ 42 w 849"/>
                <a:gd name="T3" fmla="*/ 501 h 620"/>
                <a:gd name="T4" fmla="*/ 271 w 849"/>
                <a:gd name="T5" fmla="*/ 577 h 620"/>
                <a:gd name="T6" fmla="*/ 729 w 849"/>
                <a:gd name="T7" fmla="*/ 348 h 620"/>
                <a:gd name="T8" fmla="*/ 729 w 849"/>
                <a:gd name="T9" fmla="*/ 348 h 620"/>
                <a:gd name="T10" fmla="*/ 805 w 849"/>
                <a:gd name="T11" fmla="*/ 118 h 620"/>
                <a:gd name="T12" fmla="*/ 805 w 849"/>
                <a:gd name="T13" fmla="*/ 118 h 620"/>
                <a:gd name="T14" fmla="*/ 576 w 849"/>
                <a:gd name="T15" fmla="*/ 42 h 620"/>
                <a:gd name="T16" fmla="*/ 118 w 849"/>
                <a:gd name="T17" fmla="*/ 271 h 620"/>
                <a:gd name="T18" fmla="*/ 118 w 849"/>
                <a:gd name="T19" fmla="*/ 271 h 620"/>
                <a:gd name="T20" fmla="*/ 42 w 849"/>
                <a:gd name="T21" fmla="*/ 501 h 6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49" h="620">
                  <a:moveTo>
                    <a:pt x="42" y="501"/>
                  </a:moveTo>
                  <a:lnTo>
                    <a:pt x="42" y="501"/>
                  </a:lnTo>
                  <a:cubicBezTo>
                    <a:pt x="84" y="584"/>
                    <a:pt x="187" y="619"/>
                    <a:pt x="271" y="577"/>
                  </a:cubicBezTo>
                  <a:lnTo>
                    <a:pt x="729" y="348"/>
                  </a:lnTo>
                  <a:lnTo>
                    <a:pt x="729" y="348"/>
                  </a:lnTo>
                  <a:cubicBezTo>
                    <a:pt x="813" y="306"/>
                    <a:pt x="848" y="203"/>
                    <a:pt x="805" y="118"/>
                  </a:cubicBezTo>
                  <a:lnTo>
                    <a:pt x="805" y="118"/>
                  </a:lnTo>
                  <a:cubicBezTo>
                    <a:pt x="763" y="34"/>
                    <a:pt x="660" y="0"/>
                    <a:pt x="576" y="42"/>
                  </a:cubicBezTo>
                  <a:lnTo>
                    <a:pt x="118" y="271"/>
                  </a:lnTo>
                  <a:lnTo>
                    <a:pt x="118" y="271"/>
                  </a:lnTo>
                  <a:cubicBezTo>
                    <a:pt x="33" y="313"/>
                    <a:pt x="0" y="416"/>
                    <a:pt x="42" y="501"/>
                  </a:cubicBezTo>
                </a:path>
              </a:pathLst>
            </a:custGeom>
            <a:solidFill>
              <a:schemeClr val="accent3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s-ES_tradnl"/>
            </a:p>
          </p:txBody>
        </p:sp>
        <p:sp>
          <p:nvSpPr>
            <p:cNvPr id="19" name="Freeform 38">
              <a:extLst>
                <a:ext uri="{FF2B5EF4-FFF2-40B4-BE49-F238E27FC236}">
                  <a16:creationId xmlns:a16="http://schemas.microsoft.com/office/drawing/2014/main" xmlns="" id="{C48848FD-AE6B-4123-8D48-35EB26378CC8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11369540">
              <a:off x="4108581" y="7789124"/>
              <a:ext cx="553576" cy="415681"/>
            </a:xfrm>
            <a:custGeom>
              <a:avLst/>
              <a:gdLst>
                <a:gd name="T0" fmla="*/ 43 w 758"/>
                <a:gd name="T1" fmla="*/ 455 h 574"/>
                <a:gd name="T2" fmla="*/ 43 w 758"/>
                <a:gd name="T3" fmla="*/ 455 h 574"/>
                <a:gd name="T4" fmla="*/ 272 w 758"/>
                <a:gd name="T5" fmla="*/ 531 h 574"/>
                <a:gd name="T6" fmla="*/ 638 w 758"/>
                <a:gd name="T7" fmla="*/ 348 h 574"/>
                <a:gd name="T8" fmla="*/ 638 w 758"/>
                <a:gd name="T9" fmla="*/ 348 h 574"/>
                <a:gd name="T10" fmla="*/ 714 w 758"/>
                <a:gd name="T11" fmla="*/ 119 h 574"/>
                <a:gd name="T12" fmla="*/ 714 w 758"/>
                <a:gd name="T13" fmla="*/ 119 h 574"/>
                <a:gd name="T14" fmla="*/ 485 w 758"/>
                <a:gd name="T15" fmla="*/ 42 h 574"/>
                <a:gd name="T16" fmla="*/ 119 w 758"/>
                <a:gd name="T17" fmla="*/ 225 h 574"/>
                <a:gd name="T18" fmla="*/ 119 w 758"/>
                <a:gd name="T19" fmla="*/ 225 h 574"/>
                <a:gd name="T20" fmla="*/ 43 w 758"/>
                <a:gd name="T21" fmla="*/ 455 h 5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58" h="574">
                  <a:moveTo>
                    <a:pt x="43" y="455"/>
                  </a:moveTo>
                  <a:lnTo>
                    <a:pt x="43" y="455"/>
                  </a:lnTo>
                  <a:cubicBezTo>
                    <a:pt x="85" y="539"/>
                    <a:pt x="188" y="573"/>
                    <a:pt x="272" y="531"/>
                  </a:cubicBezTo>
                  <a:lnTo>
                    <a:pt x="638" y="348"/>
                  </a:lnTo>
                  <a:lnTo>
                    <a:pt x="638" y="348"/>
                  </a:lnTo>
                  <a:cubicBezTo>
                    <a:pt x="723" y="305"/>
                    <a:pt x="757" y="203"/>
                    <a:pt x="714" y="119"/>
                  </a:cubicBezTo>
                  <a:lnTo>
                    <a:pt x="714" y="119"/>
                  </a:lnTo>
                  <a:cubicBezTo>
                    <a:pt x="672" y="34"/>
                    <a:pt x="569" y="0"/>
                    <a:pt x="485" y="42"/>
                  </a:cubicBezTo>
                  <a:lnTo>
                    <a:pt x="119" y="225"/>
                  </a:lnTo>
                  <a:lnTo>
                    <a:pt x="119" y="225"/>
                  </a:lnTo>
                  <a:cubicBezTo>
                    <a:pt x="34" y="267"/>
                    <a:pt x="0" y="370"/>
                    <a:pt x="43" y="45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s-ES_tradnl"/>
            </a:p>
          </p:txBody>
        </p:sp>
        <p:sp>
          <p:nvSpPr>
            <p:cNvPr id="20" name="Freeform 39">
              <a:extLst>
                <a:ext uri="{FF2B5EF4-FFF2-40B4-BE49-F238E27FC236}">
                  <a16:creationId xmlns:a16="http://schemas.microsoft.com/office/drawing/2014/main" xmlns="" id="{547C278D-65E2-4AC0-B77B-4CD18A67660E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11369540">
              <a:off x="5737739" y="5570829"/>
              <a:ext cx="5902672" cy="3072844"/>
            </a:xfrm>
            <a:custGeom>
              <a:avLst/>
              <a:gdLst>
                <a:gd name="T0" fmla="*/ 8043 w 8086"/>
                <a:gd name="T1" fmla="*/ 118 h 4239"/>
                <a:gd name="T2" fmla="*/ 8043 w 8086"/>
                <a:gd name="T3" fmla="*/ 118 h 4239"/>
                <a:gd name="T4" fmla="*/ 7814 w 8086"/>
                <a:gd name="T5" fmla="*/ 42 h 4239"/>
                <a:gd name="T6" fmla="*/ 119 w 8086"/>
                <a:gd name="T7" fmla="*/ 3890 h 4239"/>
                <a:gd name="T8" fmla="*/ 119 w 8086"/>
                <a:gd name="T9" fmla="*/ 3890 h 4239"/>
                <a:gd name="T10" fmla="*/ 42 w 8086"/>
                <a:gd name="T11" fmla="*/ 4120 h 4239"/>
                <a:gd name="T12" fmla="*/ 42 w 8086"/>
                <a:gd name="T13" fmla="*/ 4120 h 4239"/>
                <a:gd name="T14" fmla="*/ 272 w 8086"/>
                <a:gd name="T15" fmla="*/ 4196 h 4239"/>
                <a:gd name="T16" fmla="*/ 7967 w 8086"/>
                <a:gd name="T17" fmla="*/ 347 h 4239"/>
                <a:gd name="T18" fmla="*/ 7967 w 8086"/>
                <a:gd name="T19" fmla="*/ 347 h 4239"/>
                <a:gd name="T20" fmla="*/ 8043 w 8086"/>
                <a:gd name="T21" fmla="*/ 118 h 4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086" h="4239">
                  <a:moveTo>
                    <a:pt x="8043" y="118"/>
                  </a:moveTo>
                  <a:lnTo>
                    <a:pt x="8043" y="118"/>
                  </a:lnTo>
                  <a:cubicBezTo>
                    <a:pt x="8001" y="34"/>
                    <a:pt x="7898" y="0"/>
                    <a:pt x="7814" y="42"/>
                  </a:cubicBezTo>
                  <a:lnTo>
                    <a:pt x="119" y="3890"/>
                  </a:lnTo>
                  <a:lnTo>
                    <a:pt x="119" y="3890"/>
                  </a:lnTo>
                  <a:cubicBezTo>
                    <a:pt x="34" y="3932"/>
                    <a:pt x="0" y="4035"/>
                    <a:pt x="42" y="4120"/>
                  </a:cubicBezTo>
                  <a:lnTo>
                    <a:pt x="42" y="4120"/>
                  </a:lnTo>
                  <a:cubicBezTo>
                    <a:pt x="84" y="4204"/>
                    <a:pt x="187" y="4238"/>
                    <a:pt x="272" y="4196"/>
                  </a:cubicBezTo>
                  <a:lnTo>
                    <a:pt x="7967" y="347"/>
                  </a:lnTo>
                  <a:lnTo>
                    <a:pt x="7967" y="347"/>
                  </a:lnTo>
                  <a:cubicBezTo>
                    <a:pt x="8051" y="305"/>
                    <a:pt x="8085" y="203"/>
                    <a:pt x="8043" y="118"/>
                  </a:cubicBezTo>
                </a:path>
              </a:pathLst>
            </a:custGeom>
            <a:solidFill>
              <a:schemeClr val="accent2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s-ES_tradnl"/>
            </a:p>
          </p:txBody>
        </p:sp>
        <p:sp>
          <p:nvSpPr>
            <p:cNvPr id="21" name="Freeform 40">
              <a:extLst>
                <a:ext uri="{FF2B5EF4-FFF2-40B4-BE49-F238E27FC236}">
                  <a16:creationId xmlns:a16="http://schemas.microsoft.com/office/drawing/2014/main" xmlns="" id="{C5391069-39ED-4242-96F9-7FA18E234ACE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11369540">
              <a:off x="4840522" y="7961449"/>
              <a:ext cx="617946" cy="450856"/>
            </a:xfrm>
            <a:custGeom>
              <a:avLst/>
              <a:gdLst>
                <a:gd name="T0" fmla="*/ 804 w 848"/>
                <a:gd name="T1" fmla="*/ 119 h 620"/>
                <a:gd name="T2" fmla="*/ 804 w 848"/>
                <a:gd name="T3" fmla="*/ 119 h 620"/>
                <a:gd name="T4" fmla="*/ 576 w 848"/>
                <a:gd name="T5" fmla="*/ 42 h 620"/>
                <a:gd name="T6" fmla="*/ 118 w 848"/>
                <a:gd name="T7" fmla="*/ 271 h 620"/>
                <a:gd name="T8" fmla="*/ 118 w 848"/>
                <a:gd name="T9" fmla="*/ 271 h 620"/>
                <a:gd name="T10" fmla="*/ 41 w 848"/>
                <a:gd name="T11" fmla="*/ 501 h 620"/>
                <a:gd name="T12" fmla="*/ 41 w 848"/>
                <a:gd name="T13" fmla="*/ 501 h 620"/>
                <a:gd name="T14" fmla="*/ 271 w 848"/>
                <a:gd name="T15" fmla="*/ 577 h 620"/>
                <a:gd name="T16" fmla="*/ 727 w 848"/>
                <a:gd name="T17" fmla="*/ 348 h 620"/>
                <a:gd name="T18" fmla="*/ 727 w 848"/>
                <a:gd name="T19" fmla="*/ 348 h 620"/>
                <a:gd name="T20" fmla="*/ 804 w 848"/>
                <a:gd name="T21" fmla="*/ 119 h 6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48" h="620">
                  <a:moveTo>
                    <a:pt x="804" y="119"/>
                  </a:moveTo>
                  <a:lnTo>
                    <a:pt x="804" y="119"/>
                  </a:lnTo>
                  <a:cubicBezTo>
                    <a:pt x="762" y="34"/>
                    <a:pt x="659" y="0"/>
                    <a:pt x="576" y="42"/>
                  </a:cubicBezTo>
                  <a:lnTo>
                    <a:pt x="118" y="271"/>
                  </a:lnTo>
                  <a:lnTo>
                    <a:pt x="118" y="271"/>
                  </a:lnTo>
                  <a:cubicBezTo>
                    <a:pt x="33" y="313"/>
                    <a:pt x="0" y="416"/>
                    <a:pt x="41" y="501"/>
                  </a:cubicBezTo>
                  <a:lnTo>
                    <a:pt x="41" y="501"/>
                  </a:lnTo>
                  <a:cubicBezTo>
                    <a:pt x="83" y="585"/>
                    <a:pt x="186" y="619"/>
                    <a:pt x="271" y="577"/>
                  </a:cubicBezTo>
                  <a:lnTo>
                    <a:pt x="727" y="348"/>
                  </a:lnTo>
                  <a:lnTo>
                    <a:pt x="727" y="348"/>
                  </a:lnTo>
                  <a:cubicBezTo>
                    <a:pt x="812" y="306"/>
                    <a:pt x="847" y="203"/>
                    <a:pt x="804" y="119"/>
                  </a:cubicBezTo>
                </a:path>
              </a:pathLst>
            </a:custGeom>
            <a:solidFill>
              <a:schemeClr val="accent2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s-ES_tradnl"/>
            </a:p>
          </p:txBody>
        </p:sp>
        <p:sp>
          <p:nvSpPr>
            <p:cNvPr id="22" name="Freeform 41">
              <a:extLst>
                <a:ext uri="{FF2B5EF4-FFF2-40B4-BE49-F238E27FC236}">
                  <a16:creationId xmlns:a16="http://schemas.microsoft.com/office/drawing/2014/main" xmlns="" id="{9396F293-66AB-4D06-AFEB-1C67E7AC8CC1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11369540">
              <a:off x="4440513" y="8216642"/>
              <a:ext cx="286442" cy="284583"/>
            </a:xfrm>
            <a:custGeom>
              <a:avLst/>
              <a:gdLst>
                <a:gd name="T0" fmla="*/ 348 w 391"/>
                <a:gd name="T1" fmla="*/ 119 h 391"/>
                <a:gd name="T2" fmla="*/ 348 w 391"/>
                <a:gd name="T3" fmla="*/ 119 h 391"/>
                <a:gd name="T4" fmla="*/ 118 w 391"/>
                <a:gd name="T5" fmla="*/ 42 h 391"/>
                <a:gd name="T6" fmla="*/ 118 w 391"/>
                <a:gd name="T7" fmla="*/ 42 h 391"/>
                <a:gd name="T8" fmla="*/ 42 w 391"/>
                <a:gd name="T9" fmla="*/ 271 h 391"/>
                <a:gd name="T10" fmla="*/ 42 w 391"/>
                <a:gd name="T11" fmla="*/ 271 h 391"/>
                <a:gd name="T12" fmla="*/ 271 w 391"/>
                <a:gd name="T13" fmla="*/ 348 h 391"/>
                <a:gd name="T14" fmla="*/ 271 w 391"/>
                <a:gd name="T15" fmla="*/ 348 h 391"/>
                <a:gd name="T16" fmla="*/ 348 w 391"/>
                <a:gd name="T17" fmla="*/ 119 h 3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91" h="391">
                  <a:moveTo>
                    <a:pt x="348" y="119"/>
                  </a:moveTo>
                  <a:lnTo>
                    <a:pt x="348" y="119"/>
                  </a:lnTo>
                  <a:cubicBezTo>
                    <a:pt x="305" y="34"/>
                    <a:pt x="203" y="0"/>
                    <a:pt x="118" y="42"/>
                  </a:cubicBezTo>
                  <a:lnTo>
                    <a:pt x="118" y="42"/>
                  </a:lnTo>
                  <a:cubicBezTo>
                    <a:pt x="33" y="84"/>
                    <a:pt x="0" y="187"/>
                    <a:pt x="42" y="271"/>
                  </a:cubicBezTo>
                  <a:lnTo>
                    <a:pt x="42" y="271"/>
                  </a:lnTo>
                  <a:cubicBezTo>
                    <a:pt x="84" y="356"/>
                    <a:pt x="187" y="390"/>
                    <a:pt x="271" y="348"/>
                  </a:cubicBezTo>
                  <a:lnTo>
                    <a:pt x="271" y="348"/>
                  </a:lnTo>
                  <a:cubicBezTo>
                    <a:pt x="355" y="305"/>
                    <a:pt x="390" y="203"/>
                    <a:pt x="348" y="119"/>
                  </a:cubicBezTo>
                </a:path>
              </a:pathLst>
            </a:custGeom>
            <a:solidFill>
              <a:schemeClr val="accent2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s-ES_tradnl"/>
            </a:p>
          </p:txBody>
        </p:sp>
        <p:sp>
          <p:nvSpPr>
            <p:cNvPr id="23" name="Freeform 42">
              <a:extLst>
                <a:ext uri="{FF2B5EF4-FFF2-40B4-BE49-F238E27FC236}">
                  <a16:creationId xmlns:a16="http://schemas.microsoft.com/office/drawing/2014/main" xmlns="" id="{F925C8DA-460A-4E05-9980-30BAB18AE377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11369540">
              <a:off x="11891224" y="5943648"/>
              <a:ext cx="283226" cy="284583"/>
            </a:xfrm>
            <a:custGeom>
              <a:avLst/>
              <a:gdLst>
                <a:gd name="T0" fmla="*/ 347 w 390"/>
                <a:gd name="T1" fmla="*/ 119 h 392"/>
                <a:gd name="T2" fmla="*/ 347 w 390"/>
                <a:gd name="T3" fmla="*/ 119 h 392"/>
                <a:gd name="T4" fmla="*/ 118 w 390"/>
                <a:gd name="T5" fmla="*/ 42 h 392"/>
                <a:gd name="T6" fmla="*/ 118 w 390"/>
                <a:gd name="T7" fmla="*/ 42 h 392"/>
                <a:gd name="T8" fmla="*/ 42 w 390"/>
                <a:gd name="T9" fmla="*/ 272 h 392"/>
                <a:gd name="T10" fmla="*/ 42 w 390"/>
                <a:gd name="T11" fmla="*/ 272 h 392"/>
                <a:gd name="T12" fmla="*/ 271 w 390"/>
                <a:gd name="T13" fmla="*/ 348 h 392"/>
                <a:gd name="T14" fmla="*/ 271 w 390"/>
                <a:gd name="T15" fmla="*/ 348 h 392"/>
                <a:gd name="T16" fmla="*/ 347 w 390"/>
                <a:gd name="T17" fmla="*/ 119 h 3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90" h="392">
                  <a:moveTo>
                    <a:pt x="347" y="119"/>
                  </a:moveTo>
                  <a:lnTo>
                    <a:pt x="347" y="119"/>
                  </a:lnTo>
                  <a:cubicBezTo>
                    <a:pt x="305" y="35"/>
                    <a:pt x="203" y="0"/>
                    <a:pt x="118" y="42"/>
                  </a:cubicBezTo>
                  <a:lnTo>
                    <a:pt x="118" y="42"/>
                  </a:lnTo>
                  <a:cubicBezTo>
                    <a:pt x="34" y="84"/>
                    <a:pt x="0" y="187"/>
                    <a:pt x="42" y="272"/>
                  </a:cubicBezTo>
                  <a:lnTo>
                    <a:pt x="42" y="272"/>
                  </a:lnTo>
                  <a:cubicBezTo>
                    <a:pt x="84" y="356"/>
                    <a:pt x="186" y="391"/>
                    <a:pt x="271" y="348"/>
                  </a:cubicBezTo>
                  <a:lnTo>
                    <a:pt x="271" y="348"/>
                  </a:lnTo>
                  <a:cubicBezTo>
                    <a:pt x="356" y="306"/>
                    <a:pt x="389" y="203"/>
                    <a:pt x="347" y="119"/>
                  </a:cubicBezTo>
                </a:path>
              </a:pathLst>
            </a:custGeom>
            <a:solidFill>
              <a:schemeClr val="accent2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s-ES_tradnl"/>
            </a:p>
          </p:txBody>
        </p:sp>
        <p:sp>
          <p:nvSpPr>
            <p:cNvPr id="24" name="Freeform 43">
              <a:extLst>
                <a:ext uri="{FF2B5EF4-FFF2-40B4-BE49-F238E27FC236}">
                  <a16:creationId xmlns:a16="http://schemas.microsoft.com/office/drawing/2014/main" xmlns="" id="{3FAD494D-BEEB-48FB-9EB2-10E2FD1ECFAD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11369540">
              <a:off x="-2422178" y="5388390"/>
              <a:ext cx="5139894" cy="2695531"/>
            </a:xfrm>
            <a:custGeom>
              <a:avLst/>
              <a:gdLst>
                <a:gd name="T0" fmla="*/ 43 w 7042"/>
                <a:gd name="T1" fmla="*/ 3598 h 3717"/>
                <a:gd name="T2" fmla="*/ 43 w 7042"/>
                <a:gd name="T3" fmla="*/ 3598 h 3717"/>
                <a:gd name="T4" fmla="*/ 271 w 7042"/>
                <a:gd name="T5" fmla="*/ 3674 h 3717"/>
                <a:gd name="T6" fmla="*/ 6923 w 7042"/>
                <a:gd name="T7" fmla="*/ 348 h 3717"/>
                <a:gd name="T8" fmla="*/ 6923 w 7042"/>
                <a:gd name="T9" fmla="*/ 348 h 3717"/>
                <a:gd name="T10" fmla="*/ 6999 w 7042"/>
                <a:gd name="T11" fmla="*/ 119 h 3717"/>
                <a:gd name="T12" fmla="*/ 6999 w 7042"/>
                <a:gd name="T13" fmla="*/ 119 h 3717"/>
                <a:gd name="T14" fmla="*/ 6770 w 7042"/>
                <a:gd name="T15" fmla="*/ 43 h 3717"/>
                <a:gd name="T16" fmla="*/ 119 w 7042"/>
                <a:gd name="T17" fmla="*/ 3369 h 3717"/>
                <a:gd name="T18" fmla="*/ 119 w 7042"/>
                <a:gd name="T19" fmla="*/ 3369 h 3717"/>
                <a:gd name="T20" fmla="*/ 43 w 7042"/>
                <a:gd name="T21" fmla="*/ 3598 h 37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042" h="3717">
                  <a:moveTo>
                    <a:pt x="43" y="3598"/>
                  </a:moveTo>
                  <a:lnTo>
                    <a:pt x="43" y="3598"/>
                  </a:lnTo>
                  <a:cubicBezTo>
                    <a:pt x="85" y="3682"/>
                    <a:pt x="187" y="3716"/>
                    <a:pt x="271" y="3674"/>
                  </a:cubicBezTo>
                  <a:lnTo>
                    <a:pt x="6923" y="348"/>
                  </a:lnTo>
                  <a:lnTo>
                    <a:pt x="6923" y="348"/>
                  </a:lnTo>
                  <a:cubicBezTo>
                    <a:pt x="7007" y="306"/>
                    <a:pt x="7041" y="203"/>
                    <a:pt x="6999" y="119"/>
                  </a:cubicBezTo>
                  <a:lnTo>
                    <a:pt x="6999" y="119"/>
                  </a:lnTo>
                  <a:cubicBezTo>
                    <a:pt x="6957" y="34"/>
                    <a:pt x="6854" y="0"/>
                    <a:pt x="6770" y="43"/>
                  </a:cubicBezTo>
                  <a:lnTo>
                    <a:pt x="119" y="3369"/>
                  </a:lnTo>
                  <a:lnTo>
                    <a:pt x="119" y="3369"/>
                  </a:lnTo>
                  <a:cubicBezTo>
                    <a:pt x="34" y="3411"/>
                    <a:pt x="0" y="3513"/>
                    <a:pt x="43" y="3598"/>
                  </a:cubicBezTo>
                </a:path>
              </a:pathLst>
            </a:custGeom>
            <a:solidFill>
              <a:srgbClr val="002B6A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s-ES_tradnl"/>
            </a:p>
          </p:txBody>
        </p:sp>
        <p:sp>
          <p:nvSpPr>
            <p:cNvPr id="25" name="Freeform 44">
              <a:extLst>
                <a:ext uri="{FF2B5EF4-FFF2-40B4-BE49-F238E27FC236}">
                  <a16:creationId xmlns:a16="http://schemas.microsoft.com/office/drawing/2014/main" xmlns="" id="{A8E9DD77-D022-4677-8325-00DDF6BEBADE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11369540">
              <a:off x="79403" y="6016859"/>
              <a:ext cx="5899452" cy="3076040"/>
            </a:xfrm>
            <a:custGeom>
              <a:avLst/>
              <a:gdLst>
                <a:gd name="T0" fmla="*/ 8042 w 8085"/>
                <a:gd name="T1" fmla="*/ 119 h 4240"/>
                <a:gd name="T2" fmla="*/ 8042 w 8085"/>
                <a:gd name="T3" fmla="*/ 119 h 4240"/>
                <a:gd name="T4" fmla="*/ 7813 w 8085"/>
                <a:gd name="T5" fmla="*/ 43 h 4240"/>
                <a:gd name="T6" fmla="*/ 118 w 8085"/>
                <a:gd name="T7" fmla="*/ 3891 h 4240"/>
                <a:gd name="T8" fmla="*/ 118 w 8085"/>
                <a:gd name="T9" fmla="*/ 3891 h 4240"/>
                <a:gd name="T10" fmla="*/ 42 w 8085"/>
                <a:gd name="T11" fmla="*/ 4121 h 4240"/>
                <a:gd name="T12" fmla="*/ 42 w 8085"/>
                <a:gd name="T13" fmla="*/ 4121 h 4240"/>
                <a:gd name="T14" fmla="*/ 271 w 8085"/>
                <a:gd name="T15" fmla="*/ 4197 h 4240"/>
                <a:gd name="T16" fmla="*/ 7966 w 8085"/>
                <a:gd name="T17" fmla="*/ 348 h 4240"/>
                <a:gd name="T18" fmla="*/ 7966 w 8085"/>
                <a:gd name="T19" fmla="*/ 348 h 4240"/>
                <a:gd name="T20" fmla="*/ 8042 w 8085"/>
                <a:gd name="T21" fmla="*/ 119 h 42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085" h="4240">
                  <a:moveTo>
                    <a:pt x="8042" y="119"/>
                  </a:moveTo>
                  <a:lnTo>
                    <a:pt x="8042" y="119"/>
                  </a:lnTo>
                  <a:cubicBezTo>
                    <a:pt x="7999" y="35"/>
                    <a:pt x="7897" y="0"/>
                    <a:pt x="7813" y="43"/>
                  </a:cubicBezTo>
                  <a:lnTo>
                    <a:pt x="118" y="3891"/>
                  </a:lnTo>
                  <a:lnTo>
                    <a:pt x="118" y="3891"/>
                  </a:lnTo>
                  <a:cubicBezTo>
                    <a:pt x="34" y="3933"/>
                    <a:pt x="0" y="4036"/>
                    <a:pt x="42" y="4121"/>
                  </a:cubicBezTo>
                  <a:lnTo>
                    <a:pt x="42" y="4121"/>
                  </a:lnTo>
                  <a:cubicBezTo>
                    <a:pt x="84" y="4204"/>
                    <a:pt x="187" y="4239"/>
                    <a:pt x="271" y="4197"/>
                  </a:cubicBezTo>
                  <a:lnTo>
                    <a:pt x="7966" y="348"/>
                  </a:lnTo>
                  <a:lnTo>
                    <a:pt x="7966" y="348"/>
                  </a:lnTo>
                  <a:cubicBezTo>
                    <a:pt x="8050" y="306"/>
                    <a:pt x="8084" y="204"/>
                    <a:pt x="8042" y="119"/>
                  </a:cubicBezTo>
                </a:path>
              </a:pathLst>
            </a:custGeom>
            <a:solidFill>
              <a:schemeClr val="accent3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s-ES_tradnl"/>
            </a:p>
          </p:txBody>
        </p:sp>
        <p:sp>
          <p:nvSpPr>
            <p:cNvPr id="26" name="Freeform 45">
              <a:extLst>
                <a:ext uri="{FF2B5EF4-FFF2-40B4-BE49-F238E27FC236}">
                  <a16:creationId xmlns:a16="http://schemas.microsoft.com/office/drawing/2014/main" xmlns="" id="{154063E7-47BB-4035-9BBD-924BBACD7656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11369540">
              <a:off x="-1874015" y="8332012"/>
              <a:ext cx="1618891" cy="946474"/>
            </a:xfrm>
            <a:custGeom>
              <a:avLst/>
              <a:gdLst>
                <a:gd name="T0" fmla="*/ 2174 w 2217"/>
                <a:gd name="T1" fmla="*/ 119 h 1304"/>
                <a:gd name="T2" fmla="*/ 2174 w 2217"/>
                <a:gd name="T3" fmla="*/ 119 h 1304"/>
                <a:gd name="T4" fmla="*/ 1944 w 2217"/>
                <a:gd name="T5" fmla="*/ 42 h 1304"/>
                <a:gd name="T6" fmla="*/ 119 w 2217"/>
                <a:gd name="T7" fmla="*/ 956 h 1304"/>
                <a:gd name="T8" fmla="*/ 119 w 2217"/>
                <a:gd name="T9" fmla="*/ 956 h 1304"/>
                <a:gd name="T10" fmla="*/ 42 w 2217"/>
                <a:gd name="T11" fmla="*/ 1185 h 1304"/>
                <a:gd name="T12" fmla="*/ 42 w 2217"/>
                <a:gd name="T13" fmla="*/ 1185 h 1304"/>
                <a:gd name="T14" fmla="*/ 271 w 2217"/>
                <a:gd name="T15" fmla="*/ 1262 h 1304"/>
                <a:gd name="T16" fmla="*/ 2098 w 2217"/>
                <a:gd name="T17" fmla="*/ 348 h 1304"/>
                <a:gd name="T18" fmla="*/ 2098 w 2217"/>
                <a:gd name="T19" fmla="*/ 348 h 1304"/>
                <a:gd name="T20" fmla="*/ 2174 w 2217"/>
                <a:gd name="T21" fmla="*/ 119 h 13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217" h="1304">
                  <a:moveTo>
                    <a:pt x="2174" y="119"/>
                  </a:moveTo>
                  <a:lnTo>
                    <a:pt x="2174" y="119"/>
                  </a:lnTo>
                  <a:cubicBezTo>
                    <a:pt x="2132" y="34"/>
                    <a:pt x="2029" y="0"/>
                    <a:pt x="1944" y="42"/>
                  </a:cubicBezTo>
                  <a:lnTo>
                    <a:pt x="119" y="956"/>
                  </a:lnTo>
                  <a:lnTo>
                    <a:pt x="119" y="956"/>
                  </a:lnTo>
                  <a:cubicBezTo>
                    <a:pt x="34" y="998"/>
                    <a:pt x="0" y="1101"/>
                    <a:pt x="42" y="1185"/>
                  </a:cubicBezTo>
                  <a:lnTo>
                    <a:pt x="42" y="1185"/>
                  </a:lnTo>
                  <a:cubicBezTo>
                    <a:pt x="84" y="1269"/>
                    <a:pt x="187" y="1303"/>
                    <a:pt x="271" y="1262"/>
                  </a:cubicBezTo>
                  <a:lnTo>
                    <a:pt x="2098" y="348"/>
                  </a:lnTo>
                  <a:lnTo>
                    <a:pt x="2098" y="348"/>
                  </a:lnTo>
                  <a:cubicBezTo>
                    <a:pt x="2182" y="306"/>
                    <a:pt x="2216" y="203"/>
                    <a:pt x="2174" y="119"/>
                  </a:cubicBezTo>
                </a:path>
              </a:pathLst>
            </a:custGeom>
            <a:solidFill>
              <a:schemeClr val="accent3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s-ES_tradnl"/>
            </a:p>
          </p:txBody>
        </p:sp>
        <p:sp>
          <p:nvSpPr>
            <p:cNvPr id="27" name="Freeform 46">
              <a:extLst>
                <a:ext uri="{FF2B5EF4-FFF2-40B4-BE49-F238E27FC236}">
                  <a16:creationId xmlns:a16="http://schemas.microsoft.com/office/drawing/2014/main" xmlns="" id="{882FACE1-3D07-4BE0-AAE5-4E8B1EC212DC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11369540">
              <a:off x="-736290" y="6695649"/>
              <a:ext cx="5902672" cy="3072844"/>
            </a:xfrm>
            <a:custGeom>
              <a:avLst/>
              <a:gdLst>
                <a:gd name="T0" fmla="*/ 42 w 8086"/>
                <a:gd name="T1" fmla="*/ 4119 h 4239"/>
                <a:gd name="T2" fmla="*/ 42 w 8086"/>
                <a:gd name="T3" fmla="*/ 4119 h 4239"/>
                <a:gd name="T4" fmla="*/ 271 w 8086"/>
                <a:gd name="T5" fmla="*/ 4196 h 4239"/>
                <a:gd name="T6" fmla="*/ 7966 w 8086"/>
                <a:gd name="T7" fmla="*/ 348 h 4239"/>
                <a:gd name="T8" fmla="*/ 7966 w 8086"/>
                <a:gd name="T9" fmla="*/ 348 h 4239"/>
                <a:gd name="T10" fmla="*/ 8042 w 8086"/>
                <a:gd name="T11" fmla="*/ 119 h 4239"/>
                <a:gd name="T12" fmla="*/ 8042 w 8086"/>
                <a:gd name="T13" fmla="*/ 119 h 4239"/>
                <a:gd name="T14" fmla="*/ 7813 w 8086"/>
                <a:gd name="T15" fmla="*/ 42 h 4239"/>
                <a:gd name="T16" fmla="*/ 119 w 8086"/>
                <a:gd name="T17" fmla="*/ 3891 h 4239"/>
                <a:gd name="T18" fmla="*/ 119 w 8086"/>
                <a:gd name="T19" fmla="*/ 3891 h 4239"/>
                <a:gd name="T20" fmla="*/ 42 w 8086"/>
                <a:gd name="T21" fmla="*/ 4119 h 4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086" h="4239">
                  <a:moveTo>
                    <a:pt x="42" y="4119"/>
                  </a:moveTo>
                  <a:lnTo>
                    <a:pt x="42" y="4119"/>
                  </a:lnTo>
                  <a:cubicBezTo>
                    <a:pt x="85" y="4204"/>
                    <a:pt x="187" y="4238"/>
                    <a:pt x="271" y="4196"/>
                  </a:cubicBezTo>
                  <a:lnTo>
                    <a:pt x="7966" y="348"/>
                  </a:lnTo>
                  <a:lnTo>
                    <a:pt x="7966" y="348"/>
                  </a:lnTo>
                  <a:cubicBezTo>
                    <a:pt x="8050" y="305"/>
                    <a:pt x="8085" y="203"/>
                    <a:pt x="8042" y="119"/>
                  </a:cubicBezTo>
                  <a:lnTo>
                    <a:pt x="8042" y="119"/>
                  </a:lnTo>
                  <a:cubicBezTo>
                    <a:pt x="8000" y="34"/>
                    <a:pt x="7898" y="0"/>
                    <a:pt x="7813" y="42"/>
                  </a:cubicBezTo>
                  <a:lnTo>
                    <a:pt x="119" y="3891"/>
                  </a:lnTo>
                  <a:lnTo>
                    <a:pt x="119" y="3891"/>
                  </a:lnTo>
                  <a:cubicBezTo>
                    <a:pt x="34" y="3933"/>
                    <a:pt x="0" y="4035"/>
                    <a:pt x="42" y="4119"/>
                  </a:cubicBezTo>
                </a:path>
              </a:pathLst>
            </a:custGeom>
            <a:solidFill>
              <a:schemeClr val="accent5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s-ES_tradnl"/>
            </a:p>
          </p:txBody>
        </p:sp>
        <p:sp>
          <p:nvSpPr>
            <p:cNvPr id="28" name="Freeform 47">
              <a:extLst>
                <a:ext uri="{FF2B5EF4-FFF2-40B4-BE49-F238E27FC236}">
                  <a16:creationId xmlns:a16="http://schemas.microsoft.com/office/drawing/2014/main" xmlns="" id="{8AABDEDB-1C78-4AA9-8725-78FBC73285D4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11369540">
              <a:off x="5450840" y="6868223"/>
              <a:ext cx="753122" cy="518002"/>
            </a:xfrm>
            <a:custGeom>
              <a:avLst/>
              <a:gdLst>
                <a:gd name="T0" fmla="*/ 42 w 1033"/>
                <a:gd name="T1" fmla="*/ 593 h 713"/>
                <a:gd name="T2" fmla="*/ 42 w 1033"/>
                <a:gd name="T3" fmla="*/ 593 h 713"/>
                <a:gd name="T4" fmla="*/ 272 w 1033"/>
                <a:gd name="T5" fmla="*/ 669 h 713"/>
                <a:gd name="T6" fmla="*/ 913 w 1033"/>
                <a:gd name="T7" fmla="*/ 349 h 713"/>
                <a:gd name="T8" fmla="*/ 913 w 1033"/>
                <a:gd name="T9" fmla="*/ 349 h 713"/>
                <a:gd name="T10" fmla="*/ 989 w 1033"/>
                <a:gd name="T11" fmla="*/ 120 h 713"/>
                <a:gd name="T12" fmla="*/ 989 w 1033"/>
                <a:gd name="T13" fmla="*/ 120 h 713"/>
                <a:gd name="T14" fmla="*/ 760 w 1033"/>
                <a:gd name="T15" fmla="*/ 43 h 713"/>
                <a:gd name="T16" fmla="*/ 119 w 1033"/>
                <a:gd name="T17" fmla="*/ 363 h 713"/>
                <a:gd name="T18" fmla="*/ 119 w 1033"/>
                <a:gd name="T19" fmla="*/ 363 h 713"/>
                <a:gd name="T20" fmla="*/ 42 w 1033"/>
                <a:gd name="T21" fmla="*/ 593 h 7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033" h="713">
                  <a:moveTo>
                    <a:pt x="42" y="593"/>
                  </a:moveTo>
                  <a:lnTo>
                    <a:pt x="42" y="593"/>
                  </a:lnTo>
                  <a:cubicBezTo>
                    <a:pt x="84" y="678"/>
                    <a:pt x="187" y="712"/>
                    <a:pt x="272" y="669"/>
                  </a:cubicBezTo>
                  <a:lnTo>
                    <a:pt x="913" y="349"/>
                  </a:lnTo>
                  <a:lnTo>
                    <a:pt x="913" y="349"/>
                  </a:lnTo>
                  <a:cubicBezTo>
                    <a:pt x="997" y="306"/>
                    <a:pt x="1032" y="204"/>
                    <a:pt x="989" y="120"/>
                  </a:cubicBezTo>
                  <a:lnTo>
                    <a:pt x="989" y="120"/>
                  </a:lnTo>
                  <a:cubicBezTo>
                    <a:pt x="947" y="35"/>
                    <a:pt x="844" y="0"/>
                    <a:pt x="760" y="43"/>
                  </a:cubicBezTo>
                  <a:lnTo>
                    <a:pt x="119" y="363"/>
                  </a:lnTo>
                  <a:lnTo>
                    <a:pt x="119" y="363"/>
                  </a:lnTo>
                  <a:cubicBezTo>
                    <a:pt x="34" y="406"/>
                    <a:pt x="0" y="508"/>
                    <a:pt x="42" y="593"/>
                  </a:cubicBezTo>
                </a:path>
              </a:pathLst>
            </a:custGeom>
            <a:solidFill>
              <a:schemeClr val="accent5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s-ES_tradnl"/>
            </a:p>
          </p:txBody>
        </p:sp>
        <p:sp>
          <p:nvSpPr>
            <p:cNvPr id="30" name="Freeform 48">
              <a:extLst>
                <a:ext uri="{FF2B5EF4-FFF2-40B4-BE49-F238E27FC236}">
                  <a16:creationId xmlns:a16="http://schemas.microsoft.com/office/drawing/2014/main" xmlns="" id="{929358BD-69D7-4F26-B02B-E29783D8231F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11369540">
              <a:off x="-1269817" y="9108201"/>
              <a:ext cx="286442" cy="284581"/>
            </a:xfrm>
            <a:custGeom>
              <a:avLst/>
              <a:gdLst>
                <a:gd name="T0" fmla="*/ 42 w 391"/>
                <a:gd name="T1" fmla="*/ 272 h 392"/>
                <a:gd name="T2" fmla="*/ 42 w 391"/>
                <a:gd name="T3" fmla="*/ 272 h 392"/>
                <a:gd name="T4" fmla="*/ 272 w 391"/>
                <a:gd name="T5" fmla="*/ 349 h 392"/>
                <a:gd name="T6" fmla="*/ 272 w 391"/>
                <a:gd name="T7" fmla="*/ 349 h 392"/>
                <a:gd name="T8" fmla="*/ 348 w 391"/>
                <a:gd name="T9" fmla="*/ 119 h 392"/>
                <a:gd name="T10" fmla="*/ 348 w 391"/>
                <a:gd name="T11" fmla="*/ 119 h 392"/>
                <a:gd name="T12" fmla="*/ 118 w 391"/>
                <a:gd name="T13" fmla="*/ 43 h 392"/>
                <a:gd name="T14" fmla="*/ 118 w 391"/>
                <a:gd name="T15" fmla="*/ 43 h 392"/>
                <a:gd name="T16" fmla="*/ 42 w 391"/>
                <a:gd name="T17" fmla="*/ 272 h 3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91" h="392">
                  <a:moveTo>
                    <a:pt x="42" y="272"/>
                  </a:moveTo>
                  <a:lnTo>
                    <a:pt x="42" y="272"/>
                  </a:lnTo>
                  <a:cubicBezTo>
                    <a:pt x="84" y="357"/>
                    <a:pt x="187" y="391"/>
                    <a:pt x="272" y="349"/>
                  </a:cubicBezTo>
                  <a:lnTo>
                    <a:pt x="272" y="349"/>
                  </a:lnTo>
                  <a:cubicBezTo>
                    <a:pt x="356" y="306"/>
                    <a:pt x="390" y="203"/>
                    <a:pt x="348" y="119"/>
                  </a:cubicBezTo>
                  <a:lnTo>
                    <a:pt x="348" y="119"/>
                  </a:lnTo>
                  <a:cubicBezTo>
                    <a:pt x="306" y="35"/>
                    <a:pt x="203" y="0"/>
                    <a:pt x="118" y="43"/>
                  </a:cubicBezTo>
                  <a:lnTo>
                    <a:pt x="118" y="43"/>
                  </a:lnTo>
                  <a:cubicBezTo>
                    <a:pt x="34" y="85"/>
                    <a:pt x="0" y="188"/>
                    <a:pt x="42" y="272"/>
                  </a:cubicBezTo>
                </a:path>
              </a:pathLst>
            </a:custGeom>
            <a:solidFill>
              <a:schemeClr val="accent5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s-ES_tradnl"/>
            </a:p>
          </p:txBody>
        </p:sp>
        <p:sp>
          <p:nvSpPr>
            <p:cNvPr id="31" name="Freeform 49">
              <a:extLst>
                <a:ext uri="{FF2B5EF4-FFF2-40B4-BE49-F238E27FC236}">
                  <a16:creationId xmlns:a16="http://schemas.microsoft.com/office/drawing/2014/main" xmlns="" id="{6A1BCCF6-4714-456D-9A65-9B9EA7BEC722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11369540">
              <a:off x="-517326" y="5651286"/>
              <a:ext cx="5139894" cy="2695531"/>
            </a:xfrm>
            <a:custGeom>
              <a:avLst/>
              <a:gdLst>
                <a:gd name="T0" fmla="*/ 42 w 7042"/>
                <a:gd name="T1" fmla="*/ 3597 h 3717"/>
                <a:gd name="T2" fmla="*/ 42 w 7042"/>
                <a:gd name="T3" fmla="*/ 3597 h 3717"/>
                <a:gd name="T4" fmla="*/ 272 w 7042"/>
                <a:gd name="T5" fmla="*/ 3674 h 3717"/>
                <a:gd name="T6" fmla="*/ 6922 w 7042"/>
                <a:gd name="T7" fmla="*/ 348 h 3717"/>
                <a:gd name="T8" fmla="*/ 6922 w 7042"/>
                <a:gd name="T9" fmla="*/ 348 h 3717"/>
                <a:gd name="T10" fmla="*/ 6998 w 7042"/>
                <a:gd name="T11" fmla="*/ 118 h 3717"/>
                <a:gd name="T12" fmla="*/ 6998 w 7042"/>
                <a:gd name="T13" fmla="*/ 118 h 3717"/>
                <a:gd name="T14" fmla="*/ 6770 w 7042"/>
                <a:gd name="T15" fmla="*/ 42 h 3717"/>
                <a:gd name="T16" fmla="*/ 119 w 7042"/>
                <a:gd name="T17" fmla="*/ 3368 h 3717"/>
                <a:gd name="T18" fmla="*/ 119 w 7042"/>
                <a:gd name="T19" fmla="*/ 3368 h 3717"/>
                <a:gd name="T20" fmla="*/ 42 w 7042"/>
                <a:gd name="T21" fmla="*/ 3597 h 37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042" h="3717">
                  <a:moveTo>
                    <a:pt x="42" y="3597"/>
                  </a:moveTo>
                  <a:lnTo>
                    <a:pt x="42" y="3597"/>
                  </a:lnTo>
                  <a:cubicBezTo>
                    <a:pt x="84" y="3682"/>
                    <a:pt x="187" y="3716"/>
                    <a:pt x="272" y="3674"/>
                  </a:cubicBezTo>
                  <a:lnTo>
                    <a:pt x="6922" y="348"/>
                  </a:lnTo>
                  <a:lnTo>
                    <a:pt x="6922" y="348"/>
                  </a:lnTo>
                  <a:cubicBezTo>
                    <a:pt x="7007" y="305"/>
                    <a:pt x="7041" y="203"/>
                    <a:pt x="6998" y="118"/>
                  </a:cubicBezTo>
                  <a:lnTo>
                    <a:pt x="6998" y="118"/>
                  </a:lnTo>
                  <a:cubicBezTo>
                    <a:pt x="6957" y="33"/>
                    <a:pt x="6854" y="0"/>
                    <a:pt x="6770" y="42"/>
                  </a:cubicBezTo>
                  <a:lnTo>
                    <a:pt x="119" y="3368"/>
                  </a:lnTo>
                  <a:lnTo>
                    <a:pt x="119" y="3368"/>
                  </a:lnTo>
                  <a:cubicBezTo>
                    <a:pt x="34" y="3410"/>
                    <a:pt x="0" y="3513"/>
                    <a:pt x="42" y="3597"/>
                  </a:cubicBezTo>
                </a:path>
              </a:pathLst>
            </a:custGeom>
            <a:solidFill>
              <a:schemeClr val="accent4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s-ES_tradnl"/>
            </a:p>
          </p:txBody>
        </p:sp>
        <p:sp>
          <p:nvSpPr>
            <p:cNvPr id="32" name="Freeform 50">
              <a:extLst>
                <a:ext uri="{FF2B5EF4-FFF2-40B4-BE49-F238E27FC236}">
                  <a16:creationId xmlns:a16="http://schemas.microsoft.com/office/drawing/2014/main" xmlns="" id="{BC34DD16-228C-4A14-A339-719189FF0EE1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11369540">
              <a:off x="4878885" y="5818248"/>
              <a:ext cx="617946" cy="450853"/>
            </a:xfrm>
            <a:custGeom>
              <a:avLst/>
              <a:gdLst>
                <a:gd name="T0" fmla="*/ 42 w 848"/>
                <a:gd name="T1" fmla="*/ 501 h 620"/>
                <a:gd name="T2" fmla="*/ 42 w 848"/>
                <a:gd name="T3" fmla="*/ 501 h 620"/>
                <a:gd name="T4" fmla="*/ 271 w 848"/>
                <a:gd name="T5" fmla="*/ 577 h 620"/>
                <a:gd name="T6" fmla="*/ 728 w 848"/>
                <a:gd name="T7" fmla="*/ 348 h 620"/>
                <a:gd name="T8" fmla="*/ 728 w 848"/>
                <a:gd name="T9" fmla="*/ 348 h 620"/>
                <a:gd name="T10" fmla="*/ 805 w 848"/>
                <a:gd name="T11" fmla="*/ 119 h 620"/>
                <a:gd name="T12" fmla="*/ 805 w 848"/>
                <a:gd name="T13" fmla="*/ 119 h 620"/>
                <a:gd name="T14" fmla="*/ 576 w 848"/>
                <a:gd name="T15" fmla="*/ 43 h 620"/>
                <a:gd name="T16" fmla="*/ 119 w 848"/>
                <a:gd name="T17" fmla="*/ 272 h 620"/>
                <a:gd name="T18" fmla="*/ 119 w 848"/>
                <a:gd name="T19" fmla="*/ 272 h 620"/>
                <a:gd name="T20" fmla="*/ 42 w 848"/>
                <a:gd name="T21" fmla="*/ 501 h 6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48" h="620">
                  <a:moveTo>
                    <a:pt x="42" y="501"/>
                  </a:moveTo>
                  <a:lnTo>
                    <a:pt x="42" y="501"/>
                  </a:lnTo>
                  <a:cubicBezTo>
                    <a:pt x="84" y="585"/>
                    <a:pt x="186" y="619"/>
                    <a:pt x="271" y="577"/>
                  </a:cubicBezTo>
                  <a:lnTo>
                    <a:pt x="728" y="348"/>
                  </a:lnTo>
                  <a:lnTo>
                    <a:pt x="728" y="348"/>
                  </a:lnTo>
                  <a:cubicBezTo>
                    <a:pt x="813" y="306"/>
                    <a:pt x="847" y="204"/>
                    <a:pt x="805" y="119"/>
                  </a:cubicBezTo>
                  <a:lnTo>
                    <a:pt x="805" y="119"/>
                  </a:lnTo>
                  <a:cubicBezTo>
                    <a:pt x="762" y="34"/>
                    <a:pt x="660" y="0"/>
                    <a:pt x="576" y="43"/>
                  </a:cubicBezTo>
                  <a:lnTo>
                    <a:pt x="119" y="272"/>
                  </a:lnTo>
                  <a:lnTo>
                    <a:pt x="119" y="272"/>
                  </a:lnTo>
                  <a:cubicBezTo>
                    <a:pt x="34" y="313"/>
                    <a:pt x="0" y="416"/>
                    <a:pt x="42" y="501"/>
                  </a:cubicBezTo>
                </a:path>
              </a:pathLst>
            </a:custGeom>
            <a:solidFill>
              <a:schemeClr val="accent4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s-ES_tradnl"/>
            </a:p>
          </p:txBody>
        </p:sp>
        <p:sp>
          <p:nvSpPr>
            <p:cNvPr id="33" name="Freeform 51">
              <a:extLst>
                <a:ext uri="{FF2B5EF4-FFF2-40B4-BE49-F238E27FC236}">
                  <a16:creationId xmlns:a16="http://schemas.microsoft.com/office/drawing/2014/main" xmlns="" id="{634549CA-B563-4BBF-9284-7FD1C236B9CD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11369540">
              <a:off x="6324691" y="6684569"/>
              <a:ext cx="553576" cy="415681"/>
            </a:xfrm>
            <a:custGeom>
              <a:avLst/>
              <a:gdLst>
                <a:gd name="T0" fmla="*/ 42 w 757"/>
                <a:gd name="T1" fmla="*/ 455 h 575"/>
                <a:gd name="T2" fmla="*/ 42 w 757"/>
                <a:gd name="T3" fmla="*/ 455 h 575"/>
                <a:gd name="T4" fmla="*/ 272 w 757"/>
                <a:gd name="T5" fmla="*/ 531 h 575"/>
                <a:gd name="T6" fmla="*/ 637 w 757"/>
                <a:gd name="T7" fmla="*/ 349 h 575"/>
                <a:gd name="T8" fmla="*/ 637 w 757"/>
                <a:gd name="T9" fmla="*/ 349 h 575"/>
                <a:gd name="T10" fmla="*/ 714 w 757"/>
                <a:gd name="T11" fmla="*/ 119 h 575"/>
                <a:gd name="T12" fmla="*/ 714 w 757"/>
                <a:gd name="T13" fmla="*/ 119 h 575"/>
                <a:gd name="T14" fmla="*/ 485 w 757"/>
                <a:gd name="T15" fmla="*/ 43 h 575"/>
                <a:gd name="T16" fmla="*/ 118 w 757"/>
                <a:gd name="T17" fmla="*/ 226 h 575"/>
                <a:gd name="T18" fmla="*/ 118 w 757"/>
                <a:gd name="T19" fmla="*/ 226 h 575"/>
                <a:gd name="T20" fmla="*/ 42 w 757"/>
                <a:gd name="T21" fmla="*/ 455 h 5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57" h="575">
                  <a:moveTo>
                    <a:pt x="42" y="455"/>
                  </a:moveTo>
                  <a:lnTo>
                    <a:pt x="42" y="455"/>
                  </a:lnTo>
                  <a:cubicBezTo>
                    <a:pt x="84" y="540"/>
                    <a:pt x="187" y="574"/>
                    <a:pt x="272" y="531"/>
                  </a:cubicBezTo>
                  <a:lnTo>
                    <a:pt x="637" y="349"/>
                  </a:lnTo>
                  <a:lnTo>
                    <a:pt x="637" y="349"/>
                  </a:lnTo>
                  <a:cubicBezTo>
                    <a:pt x="722" y="306"/>
                    <a:pt x="756" y="204"/>
                    <a:pt x="714" y="119"/>
                  </a:cubicBezTo>
                  <a:lnTo>
                    <a:pt x="714" y="119"/>
                  </a:lnTo>
                  <a:cubicBezTo>
                    <a:pt x="671" y="35"/>
                    <a:pt x="569" y="0"/>
                    <a:pt x="485" y="43"/>
                  </a:cubicBezTo>
                  <a:lnTo>
                    <a:pt x="118" y="226"/>
                  </a:lnTo>
                  <a:lnTo>
                    <a:pt x="118" y="226"/>
                  </a:lnTo>
                  <a:cubicBezTo>
                    <a:pt x="34" y="268"/>
                    <a:pt x="0" y="370"/>
                    <a:pt x="42" y="455"/>
                  </a:cubicBezTo>
                </a:path>
              </a:pathLst>
            </a:custGeom>
            <a:solidFill>
              <a:schemeClr val="accent5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s-ES_tradnl"/>
            </a:p>
          </p:txBody>
        </p:sp>
        <p:sp>
          <p:nvSpPr>
            <p:cNvPr id="34" name="Freeform 52">
              <a:extLst>
                <a:ext uri="{FF2B5EF4-FFF2-40B4-BE49-F238E27FC236}">
                  <a16:creationId xmlns:a16="http://schemas.microsoft.com/office/drawing/2014/main" xmlns="" id="{C71CA5D7-6257-4981-9584-F5EA1072301B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11369540">
              <a:off x="-637625" y="5261733"/>
              <a:ext cx="5139895" cy="2695531"/>
            </a:xfrm>
            <a:custGeom>
              <a:avLst/>
              <a:gdLst>
                <a:gd name="T0" fmla="*/ 41 w 7042"/>
                <a:gd name="T1" fmla="*/ 3598 h 3718"/>
                <a:gd name="T2" fmla="*/ 41 w 7042"/>
                <a:gd name="T3" fmla="*/ 3598 h 3718"/>
                <a:gd name="T4" fmla="*/ 271 w 7042"/>
                <a:gd name="T5" fmla="*/ 3674 h 3718"/>
                <a:gd name="T6" fmla="*/ 6922 w 7042"/>
                <a:gd name="T7" fmla="*/ 349 h 3718"/>
                <a:gd name="T8" fmla="*/ 6922 w 7042"/>
                <a:gd name="T9" fmla="*/ 349 h 3718"/>
                <a:gd name="T10" fmla="*/ 6998 w 7042"/>
                <a:gd name="T11" fmla="*/ 119 h 3718"/>
                <a:gd name="T12" fmla="*/ 6998 w 7042"/>
                <a:gd name="T13" fmla="*/ 119 h 3718"/>
                <a:gd name="T14" fmla="*/ 6769 w 7042"/>
                <a:gd name="T15" fmla="*/ 43 h 3718"/>
                <a:gd name="T16" fmla="*/ 118 w 7042"/>
                <a:gd name="T17" fmla="*/ 3369 h 3718"/>
                <a:gd name="T18" fmla="*/ 118 w 7042"/>
                <a:gd name="T19" fmla="*/ 3369 h 3718"/>
                <a:gd name="T20" fmla="*/ 41 w 7042"/>
                <a:gd name="T21" fmla="*/ 3598 h 37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042" h="3718">
                  <a:moveTo>
                    <a:pt x="41" y="3598"/>
                  </a:moveTo>
                  <a:lnTo>
                    <a:pt x="41" y="3598"/>
                  </a:lnTo>
                  <a:cubicBezTo>
                    <a:pt x="83" y="3683"/>
                    <a:pt x="186" y="3717"/>
                    <a:pt x="271" y="3674"/>
                  </a:cubicBezTo>
                  <a:lnTo>
                    <a:pt x="6922" y="349"/>
                  </a:lnTo>
                  <a:lnTo>
                    <a:pt x="6922" y="349"/>
                  </a:lnTo>
                  <a:cubicBezTo>
                    <a:pt x="7006" y="306"/>
                    <a:pt x="7041" y="204"/>
                    <a:pt x="6998" y="119"/>
                  </a:cubicBezTo>
                  <a:lnTo>
                    <a:pt x="6998" y="119"/>
                  </a:lnTo>
                  <a:cubicBezTo>
                    <a:pt x="6956" y="35"/>
                    <a:pt x="6854" y="0"/>
                    <a:pt x="6769" y="43"/>
                  </a:cubicBezTo>
                  <a:lnTo>
                    <a:pt x="118" y="3369"/>
                  </a:lnTo>
                  <a:lnTo>
                    <a:pt x="118" y="3369"/>
                  </a:lnTo>
                  <a:cubicBezTo>
                    <a:pt x="34" y="3411"/>
                    <a:pt x="0" y="3514"/>
                    <a:pt x="41" y="3598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s-ES_tradnl"/>
            </a:p>
          </p:txBody>
        </p:sp>
        <p:sp>
          <p:nvSpPr>
            <p:cNvPr id="35" name="Freeform 53">
              <a:extLst>
                <a:ext uri="{FF2B5EF4-FFF2-40B4-BE49-F238E27FC236}">
                  <a16:creationId xmlns:a16="http://schemas.microsoft.com/office/drawing/2014/main" xmlns="" id="{7D074C46-9311-498E-A953-BD30B2961C96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11369540">
              <a:off x="-1740319" y="6146629"/>
              <a:ext cx="5902672" cy="3076040"/>
            </a:xfrm>
            <a:custGeom>
              <a:avLst/>
              <a:gdLst>
                <a:gd name="T0" fmla="*/ 42 w 8086"/>
                <a:gd name="T1" fmla="*/ 4120 h 4240"/>
                <a:gd name="T2" fmla="*/ 42 w 8086"/>
                <a:gd name="T3" fmla="*/ 4120 h 4240"/>
                <a:gd name="T4" fmla="*/ 272 w 8086"/>
                <a:gd name="T5" fmla="*/ 4197 h 4240"/>
                <a:gd name="T6" fmla="*/ 7967 w 8086"/>
                <a:gd name="T7" fmla="*/ 349 h 4240"/>
                <a:gd name="T8" fmla="*/ 7967 w 8086"/>
                <a:gd name="T9" fmla="*/ 349 h 4240"/>
                <a:gd name="T10" fmla="*/ 8043 w 8086"/>
                <a:gd name="T11" fmla="*/ 119 h 4240"/>
                <a:gd name="T12" fmla="*/ 8043 w 8086"/>
                <a:gd name="T13" fmla="*/ 119 h 4240"/>
                <a:gd name="T14" fmla="*/ 7814 w 8086"/>
                <a:gd name="T15" fmla="*/ 43 h 4240"/>
                <a:gd name="T16" fmla="*/ 118 w 8086"/>
                <a:gd name="T17" fmla="*/ 3891 h 4240"/>
                <a:gd name="T18" fmla="*/ 118 w 8086"/>
                <a:gd name="T19" fmla="*/ 3891 h 4240"/>
                <a:gd name="T20" fmla="*/ 42 w 8086"/>
                <a:gd name="T21" fmla="*/ 4120 h 42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086" h="4240">
                  <a:moveTo>
                    <a:pt x="42" y="4120"/>
                  </a:moveTo>
                  <a:lnTo>
                    <a:pt x="42" y="4120"/>
                  </a:lnTo>
                  <a:cubicBezTo>
                    <a:pt x="84" y="4205"/>
                    <a:pt x="187" y="4239"/>
                    <a:pt x="272" y="4197"/>
                  </a:cubicBezTo>
                  <a:lnTo>
                    <a:pt x="7967" y="349"/>
                  </a:lnTo>
                  <a:lnTo>
                    <a:pt x="7967" y="349"/>
                  </a:lnTo>
                  <a:cubicBezTo>
                    <a:pt x="8051" y="307"/>
                    <a:pt x="8085" y="204"/>
                    <a:pt x="8043" y="119"/>
                  </a:cubicBezTo>
                  <a:lnTo>
                    <a:pt x="8043" y="119"/>
                  </a:lnTo>
                  <a:cubicBezTo>
                    <a:pt x="8001" y="35"/>
                    <a:pt x="7899" y="0"/>
                    <a:pt x="7814" y="43"/>
                  </a:cubicBezTo>
                  <a:lnTo>
                    <a:pt x="118" y="3891"/>
                  </a:lnTo>
                  <a:lnTo>
                    <a:pt x="118" y="3891"/>
                  </a:lnTo>
                  <a:cubicBezTo>
                    <a:pt x="34" y="3933"/>
                    <a:pt x="0" y="4036"/>
                    <a:pt x="42" y="4120"/>
                  </a:cubicBezTo>
                </a:path>
              </a:pathLst>
            </a:custGeom>
            <a:solidFill>
              <a:schemeClr val="accent2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s-ES_tradnl"/>
            </a:p>
          </p:txBody>
        </p:sp>
        <p:sp>
          <p:nvSpPr>
            <p:cNvPr id="36" name="Freeform 54">
              <a:extLst>
                <a:ext uri="{FF2B5EF4-FFF2-40B4-BE49-F238E27FC236}">
                  <a16:creationId xmlns:a16="http://schemas.microsoft.com/office/drawing/2014/main" xmlns="" id="{1B417211-4AA8-439E-ADB4-05AF744D5077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11369540">
              <a:off x="4438694" y="6377756"/>
              <a:ext cx="621163" cy="450856"/>
            </a:xfrm>
            <a:custGeom>
              <a:avLst/>
              <a:gdLst>
                <a:gd name="T0" fmla="*/ 43 w 849"/>
                <a:gd name="T1" fmla="*/ 501 h 620"/>
                <a:gd name="T2" fmla="*/ 43 w 849"/>
                <a:gd name="T3" fmla="*/ 501 h 620"/>
                <a:gd name="T4" fmla="*/ 271 w 849"/>
                <a:gd name="T5" fmla="*/ 577 h 620"/>
                <a:gd name="T6" fmla="*/ 730 w 849"/>
                <a:gd name="T7" fmla="*/ 348 h 620"/>
                <a:gd name="T8" fmla="*/ 730 w 849"/>
                <a:gd name="T9" fmla="*/ 348 h 620"/>
                <a:gd name="T10" fmla="*/ 806 w 849"/>
                <a:gd name="T11" fmla="*/ 119 h 620"/>
                <a:gd name="T12" fmla="*/ 806 w 849"/>
                <a:gd name="T13" fmla="*/ 119 h 620"/>
                <a:gd name="T14" fmla="*/ 577 w 849"/>
                <a:gd name="T15" fmla="*/ 43 h 620"/>
                <a:gd name="T16" fmla="*/ 119 w 849"/>
                <a:gd name="T17" fmla="*/ 272 h 620"/>
                <a:gd name="T18" fmla="*/ 119 w 849"/>
                <a:gd name="T19" fmla="*/ 272 h 620"/>
                <a:gd name="T20" fmla="*/ 43 w 849"/>
                <a:gd name="T21" fmla="*/ 501 h 6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49" h="620">
                  <a:moveTo>
                    <a:pt x="43" y="501"/>
                  </a:moveTo>
                  <a:lnTo>
                    <a:pt x="43" y="501"/>
                  </a:lnTo>
                  <a:cubicBezTo>
                    <a:pt x="85" y="586"/>
                    <a:pt x="187" y="619"/>
                    <a:pt x="271" y="577"/>
                  </a:cubicBezTo>
                  <a:lnTo>
                    <a:pt x="730" y="348"/>
                  </a:lnTo>
                  <a:lnTo>
                    <a:pt x="730" y="348"/>
                  </a:lnTo>
                  <a:cubicBezTo>
                    <a:pt x="814" y="306"/>
                    <a:pt x="848" y="204"/>
                    <a:pt x="806" y="119"/>
                  </a:cubicBezTo>
                  <a:lnTo>
                    <a:pt x="806" y="119"/>
                  </a:lnTo>
                  <a:cubicBezTo>
                    <a:pt x="764" y="35"/>
                    <a:pt x="661" y="0"/>
                    <a:pt x="577" y="43"/>
                  </a:cubicBezTo>
                  <a:lnTo>
                    <a:pt x="119" y="272"/>
                  </a:lnTo>
                  <a:lnTo>
                    <a:pt x="119" y="272"/>
                  </a:lnTo>
                  <a:cubicBezTo>
                    <a:pt x="34" y="314"/>
                    <a:pt x="0" y="416"/>
                    <a:pt x="43" y="501"/>
                  </a:cubicBezTo>
                </a:path>
              </a:pathLst>
            </a:custGeom>
            <a:solidFill>
              <a:schemeClr val="accent2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s-ES_tradnl"/>
            </a:p>
          </p:txBody>
        </p:sp>
        <p:sp>
          <p:nvSpPr>
            <p:cNvPr id="37" name="Freeform 55">
              <a:extLst>
                <a:ext uri="{FF2B5EF4-FFF2-40B4-BE49-F238E27FC236}">
                  <a16:creationId xmlns:a16="http://schemas.microsoft.com/office/drawing/2014/main" xmlns="" id="{7BC8E87D-21AD-483C-B058-6B259B70CFAB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11369540">
              <a:off x="5173424" y="6288835"/>
              <a:ext cx="283226" cy="284583"/>
            </a:xfrm>
            <a:custGeom>
              <a:avLst/>
              <a:gdLst>
                <a:gd name="T0" fmla="*/ 42 w 390"/>
                <a:gd name="T1" fmla="*/ 271 h 391"/>
                <a:gd name="T2" fmla="*/ 42 w 390"/>
                <a:gd name="T3" fmla="*/ 271 h 391"/>
                <a:gd name="T4" fmla="*/ 270 w 390"/>
                <a:gd name="T5" fmla="*/ 348 h 391"/>
                <a:gd name="T6" fmla="*/ 270 w 390"/>
                <a:gd name="T7" fmla="*/ 348 h 391"/>
                <a:gd name="T8" fmla="*/ 347 w 390"/>
                <a:gd name="T9" fmla="*/ 119 h 391"/>
                <a:gd name="T10" fmla="*/ 347 w 390"/>
                <a:gd name="T11" fmla="*/ 119 h 391"/>
                <a:gd name="T12" fmla="*/ 118 w 390"/>
                <a:gd name="T13" fmla="*/ 42 h 391"/>
                <a:gd name="T14" fmla="*/ 118 w 390"/>
                <a:gd name="T15" fmla="*/ 42 h 391"/>
                <a:gd name="T16" fmla="*/ 42 w 390"/>
                <a:gd name="T17" fmla="*/ 271 h 3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90" h="391">
                  <a:moveTo>
                    <a:pt x="42" y="271"/>
                  </a:moveTo>
                  <a:lnTo>
                    <a:pt x="42" y="271"/>
                  </a:lnTo>
                  <a:cubicBezTo>
                    <a:pt x="84" y="356"/>
                    <a:pt x="187" y="390"/>
                    <a:pt x="270" y="348"/>
                  </a:cubicBezTo>
                  <a:lnTo>
                    <a:pt x="270" y="348"/>
                  </a:lnTo>
                  <a:cubicBezTo>
                    <a:pt x="355" y="306"/>
                    <a:pt x="389" y="203"/>
                    <a:pt x="347" y="119"/>
                  </a:cubicBezTo>
                  <a:lnTo>
                    <a:pt x="347" y="119"/>
                  </a:lnTo>
                  <a:cubicBezTo>
                    <a:pt x="305" y="34"/>
                    <a:pt x="202" y="0"/>
                    <a:pt x="118" y="42"/>
                  </a:cubicBezTo>
                  <a:lnTo>
                    <a:pt x="118" y="42"/>
                  </a:lnTo>
                  <a:cubicBezTo>
                    <a:pt x="34" y="84"/>
                    <a:pt x="0" y="187"/>
                    <a:pt x="42" y="271"/>
                  </a:cubicBezTo>
                </a:path>
              </a:pathLst>
            </a:custGeom>
            <a:solidFill>
              <a:schemeClr val="accent2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s-ES_tradnl"/>
            </a:p>
          </p:txBody>
        </p:sp>
        <p:sp>
          <p:nvSpPr>
            <p:cNvPr id="38" name="Freeform 56">
              <a:extLst>
                <a:ext uri="{FF2B5EF4-FFF2-40B4-BE49-F238E27FC236}">
                  <a16:creationId xmlns:a16="http://schemas.microsoft.com/office/drawing/2014/main" xmlns="" id="{E93D002C-224B-435A-8003-35727AD1A03C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11369540">
              <a:off x="-2277819" y="8564985"/>
              <a:ext cx="286444" cy="284581"/>
            </a:xfrm>
            <a:custGeom>
              <a:avLst/>
              <a:gdLst>
                <a:gd name="T0" fmla="*/ 43 w 392"/>
                <a:gd name="T1" fmla="*/ 272 h 391"/>
                <a:gd name="T2" fmla="*/ 43 w 392"/>
                <a:gd name="T3" fmla="*/ 272 h 391"/>
                <a:gd name="T4" fmla="*/ 272 w 392"/>
                <a:gd name="T5" fmla="*/ 348 h 391"/>
                <a:gd name="T6" fmla="*/ 272 w 392"/>
                <a:gd name="T7" fmla="*/ 348 h 391"/>
                <a:gd name="T8" fmla="*/ 349 w 392"/>
                <a:gd name="T9" fmla="*/ 119 h 391"/>
                <a:gd name="T10" fmla="*/ 349 w 392"/>
                <a:gd name="T11" fmla="*/ 119 h 391"/>
                <a:gd name="T12" fmla="*/ 119 w 392"/>
                <a:gd name="T13" fmla="*/ 43 h 391"/>
                <a:gd name="T14" fmla="*/ 119 w 392"/>
                <a:gd name="T15" fmla="*/ 43 h 391"/>
                <a:gd name="T16" fmla="*/ 43 w 392"/>
                <a:gd name="T17" fmla="*/ 272 h 3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92" h="391">
                  <a:moveTo>
                    <a:pt x="43" y="272"/>
                  </a:moveTo>
                  <a:lnTo>
                    <a:pt x="43" y="272"/>
                  </a:lnTo>
                  <a:cubicBezTo>
                    <a:pt x="85" y="356"/>
                    <a:pt x="188" y="390"/>
                    <a:pt x="272" y="348"/>
                  </a:cubicBezTo>
                  <a:lnTo>
                    <a:pt x="272" y="348"/>
                  </a:lnTo>
                  <a:cubicBezTo>
                    <a:pt x="356" y="306"/>
                    <a:pt x="391" y="204"/>
                    <a:pt x="349" y="119"/>
                  </a:cubicBezTo>
                  <a:lnTo>
                    <a:pt x="349" y="119"/>
                  </a:lnTo>
                  <a:cubicBezTo>
                    <a:pt x="306" y="34"/>
                    <a:pt x="204" y="0"/>
                    <a:pt x="119" y="43"/>
                  </a:cubicBezTo>
                  <a:lnTo>
                    <a:pt x="119" y="43"/>
                  </a:lnTo>
                  <a:cubicBezTo>
                    <a:pt x="35" y="85"/>
                    <a:pt x="0" y="187"/>
                    <a:pt x="43" y="272"/>
                  </a:cubicBezTo>
                </a:path>
              </a:pathLst>
            </a:custGeom>
            <a:solidFill>
              <a:schemeClr val="accent2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s-ES_tradnl"/>
            </a:p>
          </p:txBody>
        </p:sp>
        <p:sp>
          <p:nvSpPr>
            <p:cNvPr id="39" name="Freeform 45">
              <a:extLst>
                <a:ext uri="{FF2B5EF4-FFF2-40B4-BE49-F238E27FC236}">
                  <a16:creationId xmlns:a16="http://schemas.microsoft.com/office/drawing/2014/main" xmlns="" id="{C2459BB3-5F8B-4E39-AC65-54057EFD94BE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11369540">
              <a:off x="7014175" y="6035122"/>
              <a:ext cx="1618891" cy="946474"/>
            </a:xfrm>
            <a:custGeom>
              <a:avLst/>
              <a:gdLst>
                <a:gd name="T0" fmla="*/ 2174 w 2217"/>
                <a:gd name="T1" fmla="*/ 119 h 1304"/>
                <a:gd name="T2" fmla="*/ 2174 w 2217"/>
                <a:gd name="T3" fmla="*/ 119 h 1304"/>
                <a:gd name="T4" fmla="*/ 1944 w 2217"/>
                <a:gd name="T5" fmla="*/ 42 h 1304"/>
                <a:gd name="T6" fmla="*/ 119 w 2217"/>
                <a:gd name="T7" fmla="*/ 956 h 1304"/>
                <a:gd name="T8" fmla="*/ 119 w 2217"/>
                <a:gd name="T9" fmla="*/ 956 h 1304"/>
                <a:gd name="T10" fmla="*/ 42 w 2217"/>
                <a:gd name="T11" fmla="*/ 1185 h 1304"/>
                <a:gd name="T12" fmla="*/ 42 w 2217"/>
                <a:gd name="T13" fmla="*/ 1185 h 1304"/>
                <a:gd name="T14" fmla="*/ 271 w 2217"/>
                <a:gd name="T15" fmla="*/ 1262 h 1304"/>
                <a:gd name="T16" fmla="*/ 2098 w 2217"/>
                <a:gd name="T17" fmla="*/ 348 h 1304"/>
                <a:gd name="T18" fmla="*/ 2098 w 2217"/>
                <a:gd name="T19" fmla="*/ 348 h 1304"/>
                <a:gd name="T20" fmla="*/ 2174 w 2217"/>
                <a:gd name="T21" fmla="*/ 119 h 13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217" h="1304">
                  <a:moveTo>
                    <a:pt x="2174" y="119"/>
                  </a:moveTo>
                  <a:lnTo>
                    <a:pt x="2174" y="119"/>
                  </a:lnTo>
                  <a:cubicBezTo>
                    <a:pt x="2132" y="34"/>
                    <a:pt x="2029" y="0"/>
                    <a:pt x="1944" y="42"/>
                  </a:cubicBezTo>
                  <a:lnTo>
                    <a:pt x="119" y="956"/>
                  </a:lnTo>
                  <a:lnTo>
                    <a:pt x="119" y="956"/>
                  </a:lnTo>
                  <a:cubicBezTo>
                    <a:pt x="34" y="998"/>
                    <a:pt x="0" y="1101"/>
                    <a:pt x="42" y="1185"/>
                  </a:cubicBezTo>
                  <a:lnTo>
                    <a:pt x="42" y="1185"/>
                  </a:lnTo>
                  <a:cubicBezTo>
                    <a:pt x="84" y="1269"/>
                    <a:pt x="187" y="1303"/>
                    <a:pt x="271" y="1262"/>
                  </a:cubicBezTo>
                  <a:lnTo>
                    <a:pt x="2098" y="348"/>
                  </a:lnTo>
                  <a:lnTo>
                    <a:pt x="2098" y="348"/>
                  </a:lnTo>
                  <a:cubicBezTo>
                    <a:pt x="2182" y="306"/>
                    <a:pt x="2216" y="203"/>
                    <a:pt x="2174" y="119"/>
                  </a:cubicBezTo>
                </a:path>
              </a:pathLst>
            </a:custGeom>
            <a:solidFill>
              <a:schemeClr val="accent5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s-ES_tradnl"/>
            </a:p>
          </p:txBody>
        </p:sp>
        <p:sp>
          <p:nvSpPr>
            <p:cNvPr id="40" name="Freeform 31">
              <a:extLst>
                <a:ext uri="{FF2B5EF4-FFF2-40B4-BE49-F238E27FC236}">
                  <a16:creationId xmlns:a16="http://schemas.microsoft.com/office/drawing/2014/main" xmlns="" id="{E49902D4-857A-47BA-8801-19EED45332EE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11369540">
              <a:off x="73104" y="5622045"/>
              <a:ext cx="1618891" cy="946474"/>
            </a:xfrm>
            <a:custGeom>
              <a:avLst/>
              <a:gdLst>
                <a:gd name="T0" fmla="*/ 42 w 2217"/>
                <a:gd name="T1" fmla="*/ 1184 h 1304"/>
                <a:gd name="T2" fmla="*/ 42 w 2217"/>
                <a:gd name="T3" fmla="*/ 1184 h 1304"/>
                <a:gd name="T4" fmla="*/ 272 w 2217"/>
                <a:gd name="T5" fmla="*/ 1261 h 1304"/>
                <a:gd name="T6" fmla="*/ 2097 w 2217"/>
                <a:gd name="T7" fmla="*/ 348 h 1304"/>
                <a:gd name="T8" fmla="*/ 2097 w 2217"/>
                <a:gd name="T9" fmla="*/ 348 h 1304"/>
                <a:gd name="T10" fmla="*/ 2174 w 2217"/>
                <a:gd name="T11" fmla="*/ 119 h 1304"/>
                <a:gd name="T12" fmla="*/ 2174 w 2217"/>
                <a:gd name="T13" fmla="*/ 119 h 1304"/>
                <a:gd name="T14" fmla="*/ 1945 w 2217"/>
                <a:gd name="T15" fmla="*/ 42 h 1304"/>
                <a:gd name="T16" fmla="*/ 118 w 2217"/>
                <a:gd name="T17" fmla="*/ 955 h 1304"/>
                <a:gd name="T18" fmla="*/ 118 w 2217"/>
                <a:gd name="T19" fmla="*/ 955 h 1304"/>
                <a:gd name="T20" fmla="*/ 42 w 2217"/>
                <a:gd name="T21" fmla="*/ 1184 h 13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217" h="1304">
                  <a:moveTo>
                    <a:pt x="42" y="1184"/>
                  </a:moveTo>
                  <a:lnTo>
                    <a:pt x="42" y="1184"/>
                  </a:lnTo>
                  <a:cubicBezTo>
                    <a:pt x="84" y="1269"/>
                    <a:pt x="187" y="1303"/>
                    <a:pt x="272" y="1261"/>
                  </a:cubicBezTo>
                  <a:lnTo>
                    <a:pt x="2097" y="348"/>
                  </a:lnTo>
                  <a:lnTo>
                    <a:pt x="2097" y="348"/>
                  </a:lnTo>
                  <a:cubicBezTo>
                    <a:pt x="2182" y="305"/>
                    <a:pt x="2216" y="202"/>
                    <a:pt x="2174" y="119"/>
                  </a:cubicBezTo>
                  <a:lnTo>
                    <a:pt x="2174" y="119"/>
                  </a:lnTo>
                  <a:cubicBezTo>
                    <a:pt x="2132" y="34"/>
                    <a:pt x="2029" y="0"/>
                    <a:pt x="1945" y="42"/>
                  </a:cubicBezTo>
                  <a:lnTo>
                    <a:pt x="118" y="955"/>
                  </a:lnTo>
                  <a:lnTo>
                    <a:pt x="118" y="955"/>
                  </a:lnTo>
                  <a:cubicBezTo>
                    <a:pt x="34" y="997"/>
                    <a:pt x="0" y="1100"/>
                    <a:pt x="42" y="1184"/>
                  </a:cubicBezTo>
                </a:path>
              </a:pathLst>
            </a:custGeom>
            <a:solidFill>
              <a:schemeClr val="accent3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s-ES_tradnl"/>
            </a:p>
          </p:txBody>
        </p:sp>
      </p:grpSp>
    </p:spTree>
    <p:extLst>
      <p:ext uri="{BB962C8B-B14F-4D97-AF65-F5344CB8AC3E}">
        <p14:creationId xmlns:p14="http://schemas.microsoft.com/office/powerpoint/2010/main" val="3824030503"/>
      </p:ext>
    </p:extLst>
  </p:cSld>
  <p:clrMapOvr>
    <a:masterClrMapping/>
  </p:clrMapOvr>
  <p:extLst>
    <p:ext uri="{DCECCB84-F9BA-43D5-87BE-67443E8EF086}">
      <p15:sldGuideLst xmlns:p15="http://schemas.microsoft.com/office/powerpoint/2012/main" xmlns="">
        <p15:guide id="1" orient="horz" pos="391">
          <p15:clr>
            <a:srgbClr val="FBAE40"/>
          </p15:clr>
        </p15:guide>
        <p15:guide id="3" pos="3840">
          <p15:clr>
            <a:srgbClr val="FBAE40"/>
          </p15:clr>
        </p15:guide>
        <p15:guide id="4" pos="438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Überschrift und drei Textblöck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5E8BE331-C93C-4A62-8706-E5CDAF2B355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6000" y="576000"/>
            <a:ext cx="10515600" cy="427877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3200" baseline="0">
                <a:solidFill>
                  <a:srgbClr val="FFFFFF"/>
                </a:solidFill>
                <a:latin typeface="Roboto Medium" panose="02000000000000000000" pitchFamily="2" charset="0"/>
                <a:ea typeface="Roboto Medium" panose="02000000000000000000" pitchFamily="2" charset="0"/>
              </a:defRPr>
            </a:lvl1pPr>
          </a:lstStyle>
          <a:p>
            <a:r>
              <a:rPr lang="en-US" dirty="0" err="1"/>
              <a:t>Hier</a:t>
            </a:r>
            <a:r>
              <a:rPr lang="en-US" dirty="0"/>
              <a:t> </a:t>
            </a:r>
            <a:r>
              <a:rPr lang="en-US" dirty="0" err="1"/>
              <a:t>könnte</a:t>
            </a:r>
            <a:r>
              <a:rPr lang="en-US" dirty="0"/>
              <a:t> </a:t>
            </a:r>
            <a:r>
              <a:rPr lang="en-US" dirty="0" err="1"/>
              <a:t>Ihre</a:t>
            </a:r>
            <a:r>
              <a:rPr lang="en-US" dirty="0"/>
              <a:t> </a:t>
            </a:r>
            <a:r>
              <a:rPr lang="en-US" dirty="0" err="1"/>
              <a:t>Überschrift</a:t>
            </a:r>
            <a:r>
              <a:rPr lang="en-US" dirty="0"/>
              <a:t> </a:t>
            </a:r>
            <a:r>
              <a:rPr lang="en-US" dirty="0" err="1"/>
              <a:t>stehen</a:t>
            </a:r>
            <a:endParaRPr lang="en-IN" dirty="0"/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xmlns="" id="{A446D049-F822-4B92-BFB6-EE0B8087C4C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05496" y="1728000"/>
            <a:ext cx="2969554" cy="330864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None/>
              <a:defRPr lang="en-IN" sz="2000" kern="1200" baseline="0" dirty="0">
                <a:solidFill>
                  <a:schemeClr val="accent5"/>
                </a:solidFill>
                <a:latin typeface="Roboto Cn" pitchFamily="2" charset="0"/>
                <a:ea typeface="Roboto Cn" pitchFamily="2" charset="0"/>
                <a:cs typeface="+mn-cs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 err="1"/>
              <a:t>Überschrift</a:t>
            </a:r>
            <a:r>
              <a:rPr lang="en-US" dirty="0"/>
              <a:t> 01</a:t>
            </a:r>
            <a:endParaRPr lang="en-IN" dirty="0"/>
          </a:p>
        </p:txBody>
      </p:sp>
      <p:cxnSp>
        <p:nvCxnSpPr>
          <p:cNvPr id="12" name="Gerader Verbinder 11"/>
          <p:cNvCxnSpPr/>
          <p:nvPr userDrawn="1"/>
        </p:nvCxnSpPr>
        <p:spPr>
          <a:xfrm>
            <a:off x="695325" y="2160000"/>
            <a:ext cx="2880000" cy="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14" name="Gerader Verbinder 13"/>
          <p:cNvCxnSpPr/>
          <p:nvPr userDrawn="1"/>
        </p:nvCxnSpPr>
        <p:spPr>
          <a:xfrm>
            <a:off x="7528319" y="2160000"/>
            <a:ext cx="2880000" cy="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11" name="Gerader Verbinder 10"/>
          <p:cNvCxnSpPr/>
          <p:nvPr userDrawn="1"/>
        </p:nvCxnSpPr>
        <p:spPr>
          <a:xfrm>
            <a:off x="4110679" y="2160000"/>
            <a:ext cx="2880000" cy="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6" name="Textplatzhalter 5"/>
          <p:cNvSpPr>
            <a:spLocks noGrp="1"/>
          </p:cNvSpPr>
          <p:nvPr>
            <p:ph type="body" sz="quarter" idx="10" hasCustomPrompt="1"/>
          </p:nvPr>
        </p:nvSpPr>
        <p:spPr>
          <a:xfrm>
            <a:off x="604893" y="2340000"/>
            <a:ext cx="2970157" cy="3556819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2400"/>
              </a:lnSpc>
              <a:buFontTx/>
              <a:buNone/>
              <a:defRPr lang="de-DE" sz="1600" kern="1200" dirty="0" err="1" smtClean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+mn-cs"/>
              </a:defRPr>
            </a:lvl1pPr>
            <a:lvl2pPr marL="457200" indent="0">
              <a:buFontTx/>
              <a:buNone/>
              <a:defRPr lang="de-DE" sz="1600" kern="1200" dirty="0" smtClean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+mn-cs"/>
              </a:defRPr>
            </a:lvl2pPr>
            <a:lvl3pPr>
              <a:buFontTx/>
              <a:buNone/>
              <a:defRPr lang="de-DE" sz="1600" kern="1200" dirty="0" smtClean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+mn-cs"/>
              </a:defRPr>
            </a:lvl3pPr>
            <a:lvl4pPr marL="1371600" indent="0">
              <a:buFontTx/>
              <a:buNone/>
              <a:defRPr lang="de-DE" sz="1600" kern="1200" dirty="0" smtClean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+mn-cs"/>
              </a:defRPr>
            </a:lvl4pPr>
            <a:lvl5pPr marL="1828800" indent="0">
              <a:buFontTx/>
              <a:buNone/>
              <a:defRPr lang="de-DE" sz="1600" kern="12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+mn-cs"/>
              </a:defRPr>
            </a:lvl5pPr>
          </a:lstStyle>
          <a:p>
            <a:pPr lvl="0"/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Dolore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 magna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aliquyam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erat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,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sed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diam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voluptua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. At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vero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eos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 et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accusam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 et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justo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duo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dolores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 et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ea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rebum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.</a:t>
            </a:r>
            <a:r>
              <a:rPr lang="de-DE" sz="1600" baseline="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Lorem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ipsum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dolor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,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consetetur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sadipscing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elitr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,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sed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diam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nonumy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eirmod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tempor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invidunt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ut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labore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 et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dolore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.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Lorem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ipsum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dolor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,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sed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diam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nonumy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eirmod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tempor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invidunt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ut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labore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 et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dolore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 magna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aliquyam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erat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,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sed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diam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voluptua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.</a:t>
            </a:r>
            <a:endParaRPr lang="de-DE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1" hasCustomPrompt="1"/>
          </p:nvPr>
        </p:nvSpPr>
        <p:spPr>
          <a:xfrm>
            <a:off x="4019606" y="1728209"/>
            <a:ext cx="2971073" cy="411039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lang="de-DE" sz="2000" kern="1200" baseline="0" dirty="0" smtClean="0">
                <a:solidFill>
                  <a:schemeClr val="accent5"/>
                </a:solidFill>
                <a:latin typeface="Roboto Cn" pitchFamily="2" charset="0"/>
                <a:ea typeface="Roboto Cn" pitchFamily="2" charset="0"/>
                <a:cs typeface="+mn-cs"/>
              </a:defRPr>
            </a:lvl1pPr>
            <a:lvl2pPr marL="457200" indent="0">
              <a:buFontTx/>
              <a:buNone/>
              <a:defRPr lang="de-DE" sz="2000" kern="1200" baseline="0" dirty="0" smtClean="0">
                <a:solidFill>
                  <a:schemeClr val="accent5"/>
                </a:solidFill>
                <a:latin typeface="Roboto Cn" pitchFamily="2" charset="0"/>
                <a:ea typeface="Roboto Cn" pitchFamily="2" charset="0"/>
                <a:cs typeface="+mn-cs"/>
              </a:defRPr>
            </a:lvl2pPr>
            <a:lvl3pPr>
              <a:buFontTx/>
              <a:buNone/>
              <a:defRPr lang="de-DE" sz="2000" kern="1200" baseline="0" dirty="0" smtClean="0">
                <a:solidFill>
                  <a:schemeClr val="accent5"/>
                </a:solidFill>
                <a:latin typeface="Roboto Cn" pitchFamily="2" charset="0"/>
                <a:ea typeface="Roboto Cn" pitchFamily="2" charset="0"/>
                <a:cs typeface="+mn-cs"/>
              </a:defRPr>
            </a:lvl3pPr>
            <a:lvl4pPr marL="1371600" indent="0">
              <a:buFontTx/>
              <a:buNone/>
              <a:defRPr lang="de-DE" sz="2000" kern="1200" baseline="0" dirty="0" smtClean="0">
                <a:solidFill>
                  <a:schemeClr val="accent5"/>
                </a:solidFill>
                <a:latin typeface="Roboto Cn" pitchFamily="2" charset="0"/>
                <a:ea typeface="Roboto Cn" pitchFamily="2" charset="0"/>
                <a:cs typeface="+mn-cs"/>
              </a:defRPr>
            </a:lvl4pPr>
            <a:lvl5pPr marL="1828800" indent="0">
              <a:buFontTx/>
              <a:buNone/>
              <a:defRPr lang="de-DE" sz="2000" kern="1200" baseline="0" dirty="0">
                <a:solidFill>
                  <a:schemeClr val="accent5"/>
                </a:solidFill>
                <a:latin typeface="Roboto Cn" pitchFamily="2" charset="0"/>
                <a:ea typeface="Roboto Cn" pitchFamily="2" charset="0"/>
                <a:cs typeface="+mn-cs"/>
              </a:defRPr>
            </a:lvl5pPr>
          </a:lstStyle>
          <a:p>
            <a:pPr lvl="0"/>
            <a:r>
              <a:rPr lang="de-DE" dirty="0"/>
              <a:t>Überschrift 02</a:t>
            </a:r>
          </a:p>
        </p:txBody>
      </p:sp>
      <p:sp>
        <p:nvSpPr>
          <p:cNvPr id="18" name="Textplatzhalt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4116388" y="2339976"/>
            <a:ext cx="2874962" cy="3556844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2400"/>
              </a:lnSpc>
              <a:buFontTx/>
              <a:buNone/>
              <a:defRPr lang="de-DE" sz="1600" kern="1200" dirty="0" smtClean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+mn-cs"/>
              </a:defRPr>
            </a:lvl1pPr>
            <a:lvl2pPr marL="457200" indent="0">
              <a:buFontTx/>
              <a:buNone/>
              <a:defRPr lang="de-DE" sz="1600" kern="1200" dirty="0" smtClean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+mn-cs"/>
              </a:defRPr>
            </a:lvl2pPr>
            <a:lvl3pPr>
              <a:buFontTx/>
              <a:buNone/>
              <a:defRPr lang="de-DE" sz="1600" kern="1200" dirty="0" smtClean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+mn-cs"/>
              </a:defRPr>
            </a:lvl3pPr>
            <a:lvl4pPr marL="1371600" indent="0">
              <a:buFontTx/>
              <a:buNone/>
              <a:defRPr lang="de-DE" sz="1600" kern="1200" dirty="0" smtClean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+mn-cs"/>
              </a:defRPr>
            </a:lvl4pPr>
            <a:lvl5pPr marL="1828800" indent="0">
              <a:buFontTx/>
              <a:buNone/>
              <a:defRPr lang="de-DE" sz="1600" kern="1200" dirty="0" smtClean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+mn-cs"/>
              </a:defRPr>
            </a:lvl5pPr>
          </a:lstStyle>
          <a:p>
            <a:pPr lvl="0"/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Dolore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 magna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aliquyam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erat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,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sed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diam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voluptua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. At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vero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eos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 et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accusam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 et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justo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duo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dolores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 et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ea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rebum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.</a:t>
            </a:r>
            <a:r>
              <a:rPr lang="de-DE" sz="1600" baseline="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Lorem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ipsum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dolor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,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consetetur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sadipscing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elitr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,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sed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diam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nonumy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eirmod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tempor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invidunt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ut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labore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 et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dolore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.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Lorem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ipsum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dolor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,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sed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diam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nonumy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eirmod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tempor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invidunt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ut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labore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 et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dolore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 magna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aliquyam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erat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,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sed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diam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voluptua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.</a:t>
            </a:r>
            <a:endParaRPr lang="de-DE" dirty="0"/>
          </a:p>
        </p:txBody>
      </p:sp>
      <p:sp>
        <p:nvSpPr>
          <p:cNvPr id="20" name="Textplatzhalter 19"/>
          <p:cNvSpPr>
            <a:spLocks noGrp="1"/>
          </p:cNvSpPr>
          <p:nvPr>
            <p:ph type="body" sz="quarter" idx="13" hasCustomPrompt="1"/>
          </p:nvPr>
        </p:nvSpPr>
        <p:spPr>
          <a:xfrm>
            <a:off x="7435235" y="1728000"/>
            <a:ext cx="2973084" cy="411248"/>
          </a:xfrm>
          <a:prstGeom prst="rect">
            <a:avLst/>
          </a:prstGeom>
        </p:spPr>
        <p:txBody>
          <a:bodyPr/>
          <a:lstStyle>
            <a:lvl1pPr>
              <a:defRPr lang="de-DE" sz="2000" kern="1200" baseline="0" dirty="0" smtClean="0">
                <a:solidFill>
                  <a:schemeClr val="accent5"/>
                </a:solidFill>
                <a:latin typeface="Roboto Cn" pitchFamily="2" charset="0"/>
                <a:ea typeface="Roboto Cn" pitchFamily="2" charset="0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</a:pPr>
            <a:r>
              <a:rPr lang="de-DE" dirty="0"/>
              <a:t>Überschrift 03</a:t>
            </a:r>
          </a:p>
        </p:txBody>
      </p:sp>
      <p:sp>
        <p:nvSpPr>
          <p:cNvPr id="22" name="Textplatzhalter 21"/>
          <p:cNvSpPr>
            <a:spLocks noGrp="1"/>
          </p:cNvSpPr>
          <p:nvPr>
            <p:ph type="body" sz="quarter" idx="14" hasCustomPrompt="1"/>
          </p:nvPr>
        </p:nvSpPr>
        <p:spPr>
          <a:xfrm>
            <a:off x="7435850" y="2339976"/>
            <a:ext cx="2971800" cy="3556844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2400"/>
              </a:lnSpc>
              <a:buFontTx/>
              <a:buNone/>
              <a:defRPr lang="de-DE" sz="1600" kern="1200" dirty="0" smtClean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+mn-cs"/>
              </a:defRPr>
            </a:lvl1pPr>
            <a:lvl2pPr marL="457200" indent="0">
              <a:buFontTx/>
              <a:buNone/>
              <a:defRPr lang="de-DE" sz="1600" kern="1200" dirty="0" smtClean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+mn-cs"/>
              </a:defRPr>
            </a:lvl2pPr>
            <a:lvl3pPr>
              <a:buFontTx/>
              <a:buNone/>
              <a:defRPr lang="de-DE" sz="1600" kern="1200" dirty="0" smtClean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+mn-cs"/>
              </a:defRPr>
            </a:lvl3pPr>
            <a:lvl4pPr marL="1371600" indent="0">
              <a:buFontTx/>
              <a:buNone/>
              <a:defRPr lang="de-DE" sz="1600" kern="1200" dirty="0" smtClean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+mn-cs"/>
              </a:defRPr>
            </a:lvl4pPr>
            <a:lvl5pPr marL="1828800" indent="0">
              <a:buFontTx/>
              <a:buNone/>
              <a:defRPr lang="de-DE" sz="1600" kern="1200" dirty="0" smtClean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+mn-cs"/>
              </a:defRPr>
            </a:lvl5pPr>
          </a:lstStyle>
          <a:p>
            <a:pPr lvl="0"/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Dolore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 magna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aliquyam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erat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,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sed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diam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voluptua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. At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vero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eos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 et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accusam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 et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justo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duo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dolores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 et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ea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rebum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.</a:t>
            </a:r>
            <a:r>
              <a:rPr lang="de-DE" sz="1600" baseline="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Lorem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ipsum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dolor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,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consetetur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sadipscing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elitr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,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sed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diam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nonumy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eirmod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tempor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invidunt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ut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labore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 et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dolore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.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Lorem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ipsum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dolor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,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sed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diam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nonumy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eirmod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tempor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invidunt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ut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labore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 et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dolore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 magna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aliquyam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erat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,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sed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diam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voluptua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.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909383697"/>
      </p:ext>
    </p:extLst>
  </p:cSld>
  <p:clrMapOvr>
    <a:masterClrMapping/>
  </p:clrMapOvr>
  <p:extLst>
    <p:ext uri="{DCECCB84-F9BA-43D5-87BE-67443E8EF086}">
      <p15:sldGuideLst xmlns:p15="http://schemas.microsoft.com/office/powerpoint/2012/main" xmlns="">
        <p15:guide id="1" orient="horz" pos="391">
          <p15:clr>
            <a:srgbClr val="FBAE40"/>
          </p15:clr>
        </p15:guide>
        <p15:guide id="3" pos="3840">
          <p15:clr>
            <a:srgbClr val="FBAE40"/>
          </p15:clr>
        </p15:guide>
        <p15:guide id="4" pos="438">
          <p15:clr>
            <a:srgbClr val="FBAE40"/>
          </p15:clr>
        </p15:guide>
        <p15:guide id="5" pos="2593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Überschrift und drei Icons mi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5E8BE331-C93C-4A62-8706-E5CDAF2B355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6000" y="576000"/>
            <a:ext cx="10515600" cy="427877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3200" baseline="0">
                <a:solidFill>
                  <a:srgbClr val="FFFFFF"/>
                </a:solidFill>
                <a:latin typeface="Roboto Medium" panose="02000000000000000000" pitchFamily="2" charset="0"/>
                <a:ea typeface="Roboto Medium" panose="02000000000000000000" pitchFamily="2" charset="0"/>
              </a:defRPr>
            </a:lvl1pPr>
          </a:lstStyle>
          <a:p>
            <a:r>
              <a:rPr lang="en-US" dirty="0" err="1"/>
              <a:t>Hier</a:t>
            </a:r>
            <a:r>
              <a:rPr lang="en-US" dirty="0"/>
              <a:t> </a:t>
            </a:r>
            <a:r>
              <a:rPr lang="en-US" dirty="0" err="1"/>
              <a:t>könnte</a:t>
            </a:r>
            <a:r>
              <a:rPr lang="en-US" dirty="0"/>
              <a:t> </a:t>
            </a:r>
            <a:r>
              <a:rPr lang="en-US" dirty="0" err="1"/>
              <a:t>Ihre</a:t>
            </a:r>
            <a:r>
              <a:rPr lang="en-US" dirty="0"/>
              <a:t> </a:t>
            </a:r>
            <a:r>
              <a:rPr lang="en-US" dirty="0" err="1"/>
              <a:t>Überschrift</a:t>
            </a:r>
            <a:r>
              <a:rPr lang="en-US" dirty="0"/>
              <a:t> </a:t>
            </a:r>
            <a:r>
              <a:rPr lang="en-US" dirty="0" err="1"/>
              <a:t>stehen</a:t>
            </a:r>
            <a:endParaRPr lang="en-IN" dirty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0" hasCustomPrompt="1"/>
          </p:nvPr>
        </p:nvSpPr>
        <p:spPr>
          <a:xfrm>
            <a:off x="604893" y="2340000"/>
            <a:ext cx="2970432" cy="3556819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2400"/>
              </a:lnSpc>
              <a:buFontTx/>
              <a:buNone/>
              <a:defRPr lang="de-DE" sz="1600" kern="1200" dirty="0" err="1" smtClean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+mn-cs"/>
              </a:defRPr>
            </a:lvl1pPr>
            <a:lvl2pPr marL="457200" indent="0">
              <a:buFontTx/>
              <a:buNone/>
              <a:defRPr lang="de-DE" sz="1600" kern="1200" dirty="0" smtClean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+mn-cs"/>
              </a:defRPr>
            </a:lvl2pPr>
            <a:lvl3pPr>
              <a:buFontTx/>
              <a:buNone/>
              <a:defRPr lang="de-DE" sz="1600" kern="1200" dirty="0" smtClean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+mn-cs"/>
              </a:defRPr>
            </a:lvl3pPr>
            <a:lvl4pPr marL="1371600" indent="0">
              <a:buFontTx/>
              <a:buNone/>
              <a:defRPr lang="de-DE" sz="1600" kern="1200" dirty="0" smtClean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+mn-cs"/>
              </a:defRPr>
            </a:lvl4pPr>
            <a:lvl5pPr marL="1828800" indent="0">
              <a:buFontTx/>
              <a:buNone/>
              <a:defRPr lang="de-DE" sz="1600" kern="12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+mn-cs"/>
              </a:defRPr>
            </a:lvl5pPr>
          </a:lstStyle>
          <a:p>
            <a:pPr lvl="0"/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Dolore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 magna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aliquyam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erat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,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sed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diam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voluptua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. At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vero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eos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 et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accusam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 et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justo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duo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dolores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 et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ea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rebum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.</a:t>
            </a:r>
            <a:r>
              <a:rPr lang="de-DE" sz="1600" baseline="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Lorem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ipsum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dolor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,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consetetur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sadipscing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elitr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,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sed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diam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nonumy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eirmod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tempor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invidunt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ut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labore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 et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dolore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.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Lorem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ipsum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dolor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,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sed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diam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nonumy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eirmod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tempor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invidunt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ut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labore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 et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dolore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 magna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aliquyam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erat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,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sed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diam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voluptua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.</a:t>
            </a:r>
            <a:endParaRPr lang="de-DE" dirty="0"/>
          </a:p>
        </p:txBody>
      </p:sp>
      <p:sp>
        <p:nvSpPr>
          <p:cNvPr id="18" name="Textplatzhalt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4116388" y="2339976"/>
            <a:ext cx="2874962" cy="3556844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2400"/>
              </a:lnSpc>
              <a:buFontTx/>
              <a:buNone/>
              <a:defRPr lang="de-DE" sz="1600" kern="1200" dirty="0" smtClean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+mn-cs"/>
              </a:defRPr>
            </a:lvl1pPr>
            <a:lvl2pPr marL="457200" indent="0">
              <a:buFontTx/>
              <a:buNone/>
              <a:defRPr lang="de-DE" sz="1600" kern="1200" dirty="0" smtClean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+mn-cs"/>
              </a:defRPr>
            </a:lvl2pPr>
            <a:lvl3pPr>
              <a:buFontTx/>
              <a:buNone/>
              <a:defRPr lang="de-DE" sz="1600" kern="1200" dirty="0" smtClean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+mn-cs"/>
              </a:defRPr>
            </a:lvl3pPr>
            <a:lvl4pPr marL="1371600" indent="0">
              <a:buFontTx/>
              <a:buNone/>
              <a:defRPr lang="de-DE" sz="1600" kern="1200" dirty="0" smtClean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+mn-cs"/>
              </a:defRPr>
            </a:lvl4pPr>
            <a:lvl5pPr marL="1828800" indent="0">
              <a:buFontTx/>
              <a:buNone/>
              <a:defRPr lang="de-DE" sz="1600" kern="1200" dirty="0" smtClean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+mn-cs"/>
              </a:defRPr>
            </a:lvl5pPr>
          </a:lstStyle>
          <a:p>
            <a:pPr lvl="0"/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Dolore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 magna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aliquyam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erat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,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sed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diam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voluptua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. At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vero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eos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 et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accusam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 et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justo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duo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dolores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 et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ea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rebum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.</a:t>
            </a:r>
            <a:r>
              <a:rPr lang="de-DE" sz="1600" baseline="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Lorem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ipsum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dolor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,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consetetur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sadipscing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elitr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,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sed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diam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nonumy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eirmod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tempor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invidunt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ut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labore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 et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dolore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.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Lorem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ipsum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dolor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,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sed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diam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nonumy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eirmod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tempor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invidunt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ut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labore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 et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dolore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 magna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aliquyam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erat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,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sed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diam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voluptua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.</a:t>
            </a:r>
            <a:endParaRPr lang="de-DE" dirty="0"/>
          </a:p>
        </p:txBody>
      </p:sp>
      <p:sp>
        <p:nvSpPr>
          <p:cNvPr id="22" name="Textplatzhalter 21"/>
          <p:cNvSpPr>
            <a:spLocks noGrp="1"/>
          </p:cNvSpPr>
          <p:nvPr>
            <p:ph type="body" sz="quarter" idx="14" hasCustomPrompt="1"/>
          </p:nvPr>
        </p:nvSpPr>
        <p:spPr>
          <a:xfrm>
            <a:off x="7435850" y="2339976"/>
            <a:ext cx="2971800" cy="3556844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2400"/>
              </a:lnSpc>
              <a:buFontTx/>
              <a:buNone/>
              <a:defRPr lang="de-DE" sz="1600" kern="1200" dirty="0" smtClean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+mn-cs"/>
              </a:defRPr>
            </a:lvl1pPr>
            <a:lvl2pPr marL="457200" indent="0">
              <a:buFontTx/>
              <a:buNone/>
              <a:defRPr lang="de-DE" sz="1600" kern="1200" dirty="0" smtClean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+mn-cs"/>
              </a:defRPr>
            </a:lvl2pPr>
            <a:lvl3pPr>
              <a:buFontTx/>
              <a:buNone/>
              <a:defRPr lang="de-DE" sz="1600" kern="1200" dirty="0" smtClean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+mn-cs"/>
              </a:defRPr>
            </a:lvl3pPr>
            <a:lvl4pPr marL="1371600" indent="0">
              <a:buFontTx/>
              <a:buNone/>
              <a:defRPr lang="de-DE" sz="1600" kern="1200" dirty="0" smtClean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+mn-cs"/>
              </a:defRPr>
            </a:lvl4pPr>
            <a:lvl5pPr marL="1828800" indent="0">
              <a:buFontTx/>
              <a:buNone/>
              <a:defRPr lang="de-DE" sz="1600" kern="1200" dirty="0" smtClean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+mn-cs"/>
              </a:defRPr>
            </a:lvl5pPr>
          </a:lstStyle>
          <a:p>
            <a:pPr lvl="0"/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Dolore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 magna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aliquyam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erat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,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sed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diam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voluptua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. At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vero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eos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 et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accusam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 et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justo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duo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dolores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 et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ea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rebum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.</a:t>
            </a:r>
            <a:r>
              <a:rPr lang="de-DE" sz="1600" baseline="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Lorem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ipsum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dolor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,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consetetur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sadipscing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elitr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,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sed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diam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nonumy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eirmod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tempor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invidunt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ut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labore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 et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dolore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.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Lorem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ipsum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dolor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,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sed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diam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nonumy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eirmod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tempor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invidunt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ut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labore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 et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dolore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 magna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aliquyam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erat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,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sed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diam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voluptua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.</a:t>
            </a:r>
            <a:endParaRPr lang="de-DE" dirty="0"/>
          </a:p>
        </p:txBody>
      </p:sp>
      <p:sp>
        <p:nvSpPr>
          <p:cNvPr id="16" name="Bildplatzhalter 15"/>
          <p:cNvSpPr>
            <a:spLocks noGrp="1"/>
          </p:cNvSpPr>
          <p:nvPr>
            <p:ph type="pic" sz="quarter" idx="15" hasCustomPrompt="1"/>
          </p:nvPr>
        </p:nvSpPr>
        <p:spPr>
          <a:xfrm>
            <a:off x="1550109" y="1366577"/>
            <a:ext cx="1080000" cy="900000"/>
          </a:xfrm>
          <a:prstGeom prst="rect">
            <a:avLst/>
          </a:prstGeom>
        </p:spPr>
        <p:txBody>
          <a:bodyPr/>
          <a:lstStyle>
            <a:lvl1pPr marL="0" indent="0" algn="ctr">
              <a:buFontTx/>
              <a:buNone/>
              <a:defRPr sz="1200" baseline="0"/>
            </a:lvl1pPr>
          </a:lstStyle>
          <a:p>
            <a:r>
              <a:rPr lang="de-DE" dirty="0"/>
              <a:t>hier Icon einfügen</a:t>
            </a:r>
          </a:p>
        </p:txBody>
      </p:sp>
      <p:sp>
        <p:nvSpPr>
          <p:cNvPr id="19" name="Bildplatzhalter 18"/>
          <p:cNvSpPr>
            <a:spLocks noGrp="1"/>
          </p:cNvSpPr>
          <p:nvPr>
            <p:ph type="pic" sz="quarter" idx="16" hasCustomPrompt="1"/>
          </p:nvPr>
        </p:nvSpPr>
        <p:spPr>
          <a:xfrm>
            <a:off x="5103798" y="1366578"/>
            <a:ext cx="1080000" cy="900000"/>
          </a:xfrm>
          <a:prstGeom prst="rect">
            <a:avLst/>
          </a:prstGeom>
        </p:spPr>
        <p:txBody>
          <a:bodyPr/>
          <a:lstStyle>
            <a:lvl1pPr marL="0" indent="0" algn="ctr">
              <a:buFontTx/>
              <a:buNone/>
              <a:defRPr lang="de-DE" sz="1200" kern="1200" baseline="0" dirty="0">
                <a:solidFill>
                  <a:srgbClr val="FFFFFF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+mn-cs"/>
              </a:defRPr>
            </a:lvl1pPr>
          </a:lstStyle>
          <a:p>
            <a:r>
              <a:rPr lang="de-DE" dirty="0"/>
              <a:t>hier Icon einfügen</a:t>
            </a:r>
          </a:p>
        </p:txBody>
      </p:sp>
      <p:sp>
        <p:nvSpPr>
          <p:cNvPr id="23" name="Bildplatzhalter 22"/>
          <p:cNvSpPr>
            <a:spLocks noGrp="1"/>
          </p:cNvSpPr>
          <p:nvPr>
            <p:ph type="pic" sz="quarter" idx="17" hasCustomPrompt="1"/>
          </p:nvPr>
        </p:nvSpPr>
        <p:spPr>
          <a:xfrm>
            <a:off x="8381750" y="1366577"/>
            <a:ext cx="1080000" cy="900000"/>
          </a:xfrm>
          <a:prstGeom prst="rect">
            <a:avLst/>
          </a:prstGeom>
        </p:spPr>
        <p:txBody>
          <a:bodyPr/>
          <a:lstStyle>
            <a:lvl1pPr marL="0" indent="0" algn="ctr">
              <a:buFontTx/>
              <a:buNone/>
              <a:defRPr lang="de-DE" sz="1200" kern="1200" baseline="0" dirty="0">
                <a:solidFill>
                  <a:srgbClr val="FFFFFF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+mn-cs"/>
              </a:defRPr>
            </a:lvl1pPr>
          </a:lstStyle>
          <a:p>
            <a:r>
              <a:rPr lang="de-DE" dirty="0"/>
              <a:t>hier Icon einfügen</a:t>
            </a:r>
          </a:p>
        </p:txBody>
      </p:sp>
    </p:spTree>
    <p:extLst>
      <p:ext uri="{BB962C8B-B14F-4D97-AF65-F5344CB8AC3E}">
        <p14:creationId xmlns:p14="http://schemas.microsoft.com/office/powerpoint/2010/main" val="1740621332"/>
      </p:ext>
    </p:extLst>
  </p:cSld>
  <p:clrMapOvr>
    <a:masterClrMapping/>
  </p:clrMapOvr>
  <p:extLst>
    <p:ext uri="{DCECCB84-F9BA-43D5-87BE-67443E8EF086}">
      <p15:sldGuideLst xmlns:p15="http://schemas.microsoft.com/office/powerpoint/2012/main" xmlns="">
        <p15:guide id="1" orient="horz" pos="391">
          <p15:clr>
            <a:srgbClr val="FBAE40"/>
          </p15:clr>
        </p15:guide>
        <p15:guide id="3" pos="3840">
          <p15:clr>
            <a:srgbClr val="FBAE40"/>
          </p15:clr>
        </p15:guide>
        <p15:guide id="4" pos="438">
          <p15:clr>
            <a:srgbClr val="FBAE40"/>
          </p15:clr>
        </p15:guide>
        <p15:guide id="5" pos="2593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Überschrift und drei Kästen mit Stichpunk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5E8BE331-C93C-4A62-8706-E5CDAF2B355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6000" y="576000"/>
            <a:ext cx="10515600" cy="427877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3200" baseline="0">
                <a:solidFill>
                  <a:srgbClr val="FFFFFF"/>
                </a:solidFill>
                <a:latin typeface="Roboto Medium" panose="02000000000000000000" pitchFamily="2" charset="0"/>
                <a:ea typeface="Roboto Medium" panose="02000000000000000000" pitchFamily="2" charset="0"/>
              </a:defRPr>
            </a:lvl1pPr>
          </a:lstStyle>
          <a:p>
            <a:r>
              <a:rPr lang="en-US" dirty="0" err="1"/>
              <a:t>Hier</a:t>
            </a:r>
            <a:r>
              <a:rPr lang="en-US" dirty="0"/>
              <a:t> </a:t>
            </a:r>
            <a:r>
              <a:rPr lang="en-US" dirty="0" err="1"/>
              <a:t>könnte</a:t>
            </a:r>
            <a:r>
              <a:rPr lang="en-US" dirty="0"/>
              <a:t> </a:t>
            </a:r>
            <a:r>
              <a:rPr lang="en-US" dirty="0" err="1"/>
              <a:t>Ihre</a:t>
            </a:r>
            <a:r>
              <a:rPr lang="en-US" dirty="0"/>
              <a:t> </a:t>
            </a:r>
            <a:r>
              <a:rPr lang="en-US" dirty="0" err="1"/>
              <a:t>Überschrift</a:t>
            </a:r>
            <a:r>
              <a:rPr lang="en-US" dirty="0"/>
              <a:t> </a:t>
            </a:r>
            <a:r>
              <a:rPr lang="en-US" dirty="0" err="1"/>
              <a:t>stehen</a:t>
            </a:r>
            <a:endParaRPr lang="en-IN" dirty="0"/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xmlns="" id="{A446D049-F822-4B92-BFB6-EE0B8087C4C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05496" y="1728000"/>
            <a:ext cx="2969554" cy="330864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lang="en-IN" sz="2000" b="1" kern="1200" baseline="0" dirty="0">
                <a:solidFill>
                  <a:srgbClr val="002B6A"/>
                </a:solidFill>
                <a:latin typeface="Roboto Cn" pitchFamily="2" charset="0"/>
                <a:ea typeface="Roboto Cn" pitchFamily="2" charset="0"/>
                <a:cs typeface="+mn-cs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 err="1"/>
              <a:t>Überschrift</a:t>
            </a:r>
            <a:r>
              <a:rPr lang="en-US" dirty="0"/>
              <a:t> 01</a:t>
            </a:r>
            <a:endParaRPr lang="en-IN" dirty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0" hasCustomPrompt="1"/>
          </p:nvPr>
        </p:nvSpPr>
        <p:spPr>
          <a:xfrm>
            <a:off x="823965" y="2340000"/>
            <a:ext cx="2612571" cy="3556819"/>
          </a:xfrm>
          <a:prstGeom prst="rect">
            <a:avLst/>
          </a:prstGeom>
        </p:spPr>
        <p:txBody>
          <a:bodyPr/>
          <a:lstStyle>
            <a:lvl1pPr marL="285750" indent="-285750" algn="ctr">
              <a:lnSpc>
                <a:spcPts val="2400"/>
              </a:lnSpc>
              <a:buSzPct val="65000"/>
              <a:buFontTx/>
              <a:buBlip>
                <a:blip r:embed="rId2"/>
              </a:buBlip>
              <a:tabLst>
                <a:tab pos="1704975" algn="l"/>
              </a:tabLst>
              <a:defRPr lang="de-DE" sz="1600" kern="1200" dirty="0" err="1" smtClean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+mn-cs"/>
              </a:defRPr>
            </a:lvl1pPr>
            <a:lvl2pPr marL="457200" indent="0">
              <a:buFontTx/>
              <a:buNone/>
              <a:defRPr lang="de-DE" sz="1600" kern="1200" dirty="0" smtClean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+mn-cs"/>
              </a:defRPr>
            </a:lvl2pPr>
            <a:lvl3pPr>
              <a:buFontTx/>
              <a:buNone/>
              <a:defRPr lang="de-DE" sz="1600" kern="1200" dirty="0" smtClean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+mn-cs"/>
              </a:defRPr>
            </a:lvl3pPr>
            <a:lvl4pPr marL="1371600" indent="0">
              <a:buFontTx/>
              <a:buNone/>
              <a:defRPr lang="de-DE" sz="1600" kern="1200" dirty="0" smtClean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+mn-cs"/>
              </a:defRPr>
            </a:lvl4pPr>
            <a:lvl5pPr marL="1828800" indent="0">
              <a:buFontTx/>
              <a:buNone/>
              <a:defRPr lang="de-DE" sz="1600" kern="12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+mn-cs"/>
              </a:defRPr>
            </a:lvl5pPr>
          </a:lstStyle>
          <a:p>
            <a:pPr lvl="0"/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Lorem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ipsum</a:t>
            </a:r>
            <a:endParaRPr lang="de-DE" sz="1600" dirty="0">
              <a:solidFill>
                <a:schemeClr val="tx1"/>
              </a:solidFill>
              <a:latin typeface="Roboto Condensed" panose="02000000000000000000" pitchFamily="2" charset="0"/>
              <a:ea typeface="Roboto Condensed" panose="02000000000000000000" pitchFamily="2" charset="0"/>
            </a:endParaRPr>
          </a:p>
          <a:p>
            <a:pPr lvl="0"/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dolore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Lorem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ipsum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 </a:t>
            </a:r>
          </a:p>
          <a:p>
            <a:pPr lvl="0"/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dolor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,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sed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diam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 </a:t>
            </a:r>
          </a:p>
          <a:p>
            <a:pPr lvl="0"/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nonumy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eirmod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 </a:t>
            </a:r>
          </a:p>
          <a:p>
            <a:pPr lvl="0"/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tempor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invidunt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 </a:t>
            </a:r>
          </a:p>
          <a:p>
            <a:pPr lvl="0"/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ut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labore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 et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dolore</a:t>
            </a:r>
            <a:endParaRPr lang="de-DE" sz="1600" dirty="0">
              <a:solidFill>
                <a:schemeClr val="tx1"/>
              </a:solidFill>
              <a:latin typeface="Roboto Condensed" panose="02000000000000000000" pitchFamily="2" charset="0"/>
              <a:ea typeface="Roboto Condensed" panose="02000000000000000000" pitchFamily="2" charset="0"/>
            </a:endParaRP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1" hasCustomPrompt="1"/>
          </p:nvPr>
        </p:nvSpPr>
        <p:spPr>
          <a:xfrm>
            <a:off x="4116388" y="1728209"/>
            <a:ext cx="2874291" cy="330655"/>
          </a:xfrm>
          <a:prstGeom prst="rect">
            <a:avLst/>
          </a:prstGeom>
        </p:spPr>
        <p:txBody>
          <a:bodyPr/>
          <a:lstStyle>
            <a:lvl1pPr marL="0" indent="0" algn="ctr">
              <a:buFontTx/>
              <a:buNone/>
              <a:defRPr lang="de-DE" sz="2000" b="1" kern="1200" baseline="0" dirty="0" smtClean="0">
                <a:solidFill>
                  <a:srgbClr val="002B6A"/>
                </a:solidFill>
                <a:latin typeface="Roboto Cn" pitchFamily="2" charset="0"/>
                <a:ea typeface="Roboto Cn" pitchFamily="2" charset="0"/>
                <a:cs typeface="+mn-cs"/>
              </a:defRPr>
            </a:lvl1pPr>
            <a:lvl2pPr marL="457200" indent="0">
              <a:buFontTx/>
              <a:buNone/>
              <a:defRPr lang="de-DE" sz="2000" kern="1200" baseline="0" dirty="0" smtClean="0">
                <a:solidFill>
                  <a:schemeClr val="accent5"/>
                </a:solidFill>
                <a:latin typeface="Roboto Cn" pitchFamily="2" charset="0"/>
                <a:ea typeface="Roboto Cn" pitchFamily="2" charset="0"/>
                <a:cs typeface="+mn-cs"/>
              </a:defRPr>
            </a:lvl2pPr>
            <a:lvl3pPr>
              <a:buFontTx/>
              <a:buNone/>
              <a:defRPr lang="de-DE" sz="2000" kern="1200" baseline="0" dirty="0" smtClean="0">
                <a:solidFill>
                  <a:schemeClr val="accent5"/>
                </a:solidFill>
                <a:latin typeface="Roboto Cn" pitchFamily="2" charset="0"/>
                <a:ea typeface="Roboto Cn" pitchFamily="2" charset="0"/>
                <a:cs typeface="+mn-cs"/>
              </a:defRPr>
            </a:lvl3pPr>
            <a:lvl4pPr marL="1371600" indent="0">
              <a:buFontTx/>
              <a:buNone/>
              <a:defRPr lang="de-DE" sz="2000" kern="1200" baseline="0" dirty="0" smtClean="0">
                <a:solidFill>
                  <a:schemeClr val="accent5"/>
                </a:solidFill>
                <a:latin typeface="Roboto Cn" pitchFamily="2" charset="0"/>
                <a:ea typeface="Roboto Cn" pitchFamily="2" charset="0"/>
                <a:cs typeface="+mn-cs"/>
              </a:defRPr>
            </a:lvl4pPr>
            <a:lvl5pPr marL="1828800" indent="0">
              <a:buFontTx/>
              <a:buNone/>
              <a:defRPr lang="de-DE" sz="2000" kern="1200" baseline="0" dirty="0">
                <a:solidFill>
                  <a:schemeClr val="accent5"/>
                </a:solidFill>
                <a:latin typeface="Roboto Cn" pitchFamily="2" charset="0"/>
                <a:ea typeface="Roboto Cn" pitchFamily="2" charset="0"/>
                <a:cs typeface="+mn-cs"/>
              </a:defRPr>
            </a:lvl5pPr>
          </a:lstStyle>
          <a:p>
            <a:pPr lvl="0"/>
            <a:r>
              <a:rPr lang="de-DE" dirty="0"/>
              <a:t>Überschrift 02</a:t>
            </a:r>
          </a:p>
        </p:txBody>
      </p:sp>
      <p:sp>
        <p:nvSpPr>
          <p:cNvPr id="18" name="Textplatzhalt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4248130" y="2339976"/>
            <a:ext cx="2624943" cy="3556844"/>
          </a:xfrm>
          <a:prstGeom prst="rect">
            <a:avLst/>
          </a:prstGeom>
        </p:spPr>
        <p:txBody>
          <a:bodyPr/>
          <a:lstStyle>
            <a:lvl1pPr marL="285750" indent="-285750" algn="ctr">
              <a:lnSpc>
                <a:spcPts val="2400"/>
              </a:lnSpc>
              <a:buSzPct val="65000"/>
              <a:buFontTx/>
              <a:buBlip>
                <a:blip r:embed="rId2"/>
              </a:buBlip>
              <a:defRPr lang="de-DE" sz="1600" kern="1200" dirty="0" smtClean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+mn-cs"/>
              </a:defRPr>
            </a:lvl1pPr>
            <a:lvl2pPr marL="457200" indent="0">
              <a:buFontTx/>
              <a:buNone/>
              <a:defRPr lang="de-DE" sz="1600" kern="1200" dirty="0" smtClean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+mn-cs"/>
              </a:defRPr>
            </a:lvl2pPr>
            <a:lvl3pPr>
              <a:buFontTx/>
              <a:buNone/>
              <a:defRPr lang="de-DE" sz="1600" kern="1200" dirty="0" smtClean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+mn-cs"/>
              </a:defRPr>
            </a:lvl3pPr>
            <a:lvl4pPr marL="1371600" indent="0">
              <a:buFontTx/>
              <a:buNone/>
              <a:defRPr lang="de-DE" sz="1600" kern="1200" dirty="0" smtClean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+mn-cs"/>
              </a:defRPr>
            </a:lvl4pPr>
            <a:lvl5pPr marL="1828800" indent="0">
              <a:buFontTx/>
              <a:buNone/>
              <a:defRPr lang="de-DE" sz="1600" kern="1200" dirty="0" smtClean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+mn-cs"/>
              </a:defRPr>
            </a:lvl5pPr>
          </a:lstStyle>
          <a:p>
            <a:pPr lvl="0"/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Lorem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ipsum</a:t>
            </a:r>
            <a:endParaRPr lang="de-DE" sz="1600" dirty="0">
              <a:solidFill>
                <a:schemeClr val="tx1"/>
              </a:solidFill>
              <a:latin typeface="Roboto Condensed" panose="02000000000000000000" pitchFamily="2" charset="0"/>
              <a:ea typeface="Roboto Condensed" panose="02000000000000000000" pitchFamily="2" charset="0"/>
            </a:endParaRPr>
          </a:p>
          <a:p>
            <a:pPr lvl="0"/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dolore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Lorem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ipsum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 </a:t>
            </a:r>
          </a:p>
          <a:p>
            <a:pPr lvl="0"/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dolor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,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sed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diam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 </a:t>
            </a:r>
          </a:p>
          <a:p>
            <a:pPr lvl="0"/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nonumy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eirmod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 </a:t>
            </a:r>
          </a:p>
          <a:p>
            <a:pPr lvl="0"/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tempor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invidunt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 </a:t>
            </a:r>
          </a:p>
          <a:p>
            <a:pPr lvl="0"/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ut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labore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 et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dolore</a:t>
            </a:r>
            <a:endParaRPr lang="de-DE" sz="1600" dirty="0">
              <a:solidFill>
                <a:schemeClr val="tx1"/>
              </a:solidFill>
              <a:latin typeface="Roboto Condensed" panose="02000000000000000000" pitchFamily="2" charset="0"/>
              <a:ea typeface="Roboto Condensed" panose="02000000000000000000" pitchFamily="2" charset="0"/>
            </a:endParaRPr>
          </a:p>
        </p:txBody>
      </p:sp>
      <p:sp>
        <p:nvSpPr>
          <p:cNvPr id="22" name="Textplatzhalter 21"/>
          <p:cNvSpPr>
            <a:spLocks noGrp="1"/>
          </p:cNvSpPr>
          <p:nvPr>
            <p:ph type="body" sz="quarter" idx="14" hasCustomPrompt="1"/>
          </p:nvPr>
        </p:nvSpPr>
        <p:spPr>
          <a:xfrm>
            <a:off x="7671202" y="2339976"/>
            <a:ext cx="2588165" cy="3556844"/>
          </a:xfrm>
          <a:prstGeom prst="rect">
            <a:avLst/>
          </a:prstGeom>
        </p:spPr>
        <p:txBody>
          <a:bodyPr/>
          <a:lstStyle>
            <a:lvl1pPr marL="285750" indent="-285750" algn="ctr">
              <a:lnSpc>
                <a:spcPts val="2400"/>
              </a:lnSpc>
              <a:buSzPct val="65000"/>
              <a:buFontTx/>
              <a:buBlip>
                <a:blip r:embed="rId2"/>
              </a:buBlip>
              <a:defRPr lang="de-DE" sz="1600" kern="1200" dirty="0" smtClean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+mn-cs"/>
              </a:defRPr>
            </a:lvl1pPr>
            <a:lvl2pPr marL="457200" indent="0">
              <a:buFontTx/>
              <a:buNone/>
              <a:defRPr lang="de-DE" sz="1600" kern="1200" dirty="0" smtClean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+mn-cs"/>
              </a:defRPr>
            </a:lvl2pPr>
            <a:lvl3pPr>
              <a:buFontTx/>
              <a:buNone/>
              <a:defRPr lang="de-DE" sz="1600" kern="1200" dirty="0" smtClean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+mn-cs"/>
              </a:defRPr>
            </a:lvl3pPr>
            <a:lvl4pPr marL="1371600" indent="0">
              <a:buFontTx/>
              <a:buNone/>
              <a:defRPr lang="de-DE" sz="1600" kern="1200" dirty="0" smtClean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+mn-cs"/>
              </a:defRPr>
            </a:lvl4pPr>
            <a:lvl5pPr marL="1828800" indent="0">
              <a:buFontTx/>
              <a:buNone/>
              <a:defRPr lang="de-DE" sz="1600" kern="1200" dirty="0" smtClean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+mn-cs"/>
              </a:defRPr>
            </a:lvl5pPr>
          </a:lstStyle>
          <a:p>
            <a:pPr lvl="0"/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Lorem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ipsum</a:t>
            </a:r>
            <a:endParaRPr lang="de-DE" sz="1600" dirty="0">
              <a:solidFill>
                <a:schemeClr val="tx1"/>
              </a:solidFill>
              <a:latin typeface="Roboto Condensed" panose="02000000000000000000" pitchFamily="2" charset="0"/>
              <a:ea typeface="Roboto Condensed" panose="02000000000000000000" pitchFamily="2" charset="0"/>
            </a:endParaRPr>
          </a:p>
          <a:p>
            <a:pPr lvl="0"/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dolore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Lorem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ipsum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 </a:t>
            </a:r>
          </a:p>
          <a:p>
            <a:pPr lvl="0"/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dolor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,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sed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diam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 </a:t>
            </a:r>
          </a:p>
          <a:p>
            <a:pPr lvl="0"/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nonumy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eirmod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 </a:t>
            </a:r>
          </a:p>
          <a:p>
            <a:pPr lvl="0"/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tempor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invidunt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 </a:t>
            </a:r>
          </a:p>
          <a:p>
            <a:pPr lvl="0"/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ut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labore</a:t>
            </a: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 et </a:t>
            </a:r>
            <a:r>
              <a:rPr lang="de-DE" sz="1600" dirty="0" err="1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dolore</a:t>
            </a:r>
            <a:endParaRPr lang="de-DE" sz="1600" dirty="0">
              <a:solidFill>
                <a:schemeClr val="tx1"/>
              </a:solidFill>
              <a:latin typeface="Roboto Condensed" panose="02000000000000000000" pitchFamily="2" charset="0"/>
              <a:ea typeface="Roboto Condensed" panose="02000000000000000000" pitchFamily="2" charset="0"/>
            </a:endParaRPr>
          </a:p>
        </p:txBody>
      </p:sp>
      <p:sp>
        <p:nvSpPr>
          <p:cNvPr id="15" name="Rectangle: Rounded Corners 50">
            <a:extLst>
              <a:ext uri="{FF2B5EF4-FFF2-40B4-BE49-F238E27FC236}">
                <a16:creationId xmlns:a16="http://schemas.microsoft.com/office/drawing/2014/main" xmlns="" id="{D5ED310C-ECB9-48AC-9865-26A22CCF9245}"/>
              </a:ext>
            </a:extLst>
          </p:cNvPr>
          <p:cNvSpPr/>
          <p:nvPr/>
        </p:nvSpPr>
        <p:spPr>
          <a:xfrm>
            <a:off x="695326" y="1577819"/>
            <a:ext cx="2877714" cy="4319000"/>
          </a:xfrm>
          <a:prstGeom prst="roundRect">
            <a:avLst>
              <a:gd name="adj" fmla="val 9599"/>
            </a:avLst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21" name="Rectangle: Rounded Corners 50">
            <a:extLst>
              <a:ext uri="{FF2B5EF4-FFF2-40B4-BE49-F238E27FC236}">
                <a16:creationId xmlns:a16="http://schemas.microsoft.com/office/drawing/2014/main" xmlns="" id="{D5ED310C-ECB9-48AC-9865-26A22CCF9245}"/>
              </a:ext>
            </a:extLst>
          </p:cNvPr>
          <p:cNvSpPr/>
          <p:nvPr userDrawn="1"/>
        </p:nvSpPr>
        <p:spPr>
          <a:xfrm>
            <a:off x="4118398" y="1577819"/>
            <a:ext cx="2877714" cy="4319000"/>
          </a:xfrm>
          <a:prstGeom prst="roundRect">
            <a:avLst>
              <a:gd name="adj" fmla="val 9599"/>
            </a:avLst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23" name="Rectangle: Rounded Corners 50">
            <a:extLst>
              <a:ext uri="{FF2B5EF4-FFF2-40B4-BE49-F238E27FC236}">
                <a16:creationId xmlns:a16="http://schemas.microsoft.com/office/drawing/2014/main" xmlns="" id="{D5ED310C-ECB9-48AC-9865-26A22CCF9245}"/>
              </a:ext>
            </a:extLst>
          </p:cNvPr>
          <p:cNvSpPr/>
          <p:nvPr userDrawn="1"/>
        </p:nvSpPr>
        <p:spPr>
          <a:xfrm>
            <a:off x="7529462" y="1577819"/>
            <a:ext cx="2877714" cy="4319000"/>
          </a:xfrm>
          <a:prstGeom prst="roundRect">
            <a:avLst>
              <a:gd name="adj" fmla="val 9599"/>
            </a:avLst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5" hasCustomPrompt="1"/>
          </p:nvPr>
        </p:nvSpPr>
        <p:spPr>
          <a:xfrm>
            <a:off x="7527925" y="1728000"/>
            <a:ext cx="2879725" cy="330864"/>
          </a:xfrm>
          <a:prstGeom prst="rect">
            <a:avLst/>
          </a:prstGeom>
        </p:spPr>
        <p:txBody>
          <a:bodyPr/>
          <a:lstStyle>
            <a:lvl1pPr marL="0" indent="0" algn="ctr">
              <a:buFontTx/>
              <a:buNone/>
              <a:defRPr lang="de-DE" sz="2000" b="1" kern="1200" baseline="0" dirty="0" smtClean="0">
                <a:solidFill>
                  <a:srgbClr val="002B6A"/>
                </a:solidFill>
                <a:latin typeface="Roboto Cn" pitchFamily="2" charset="0"/>
                <a:ea typeface="Roboto Cn" pitchFamily="2" charset="0"/>
                <a:cs typeface="+mn-cs"/>
              </a:defRPr>
            </a:lvl1pPr>
          </a:lstStyle>
          <a:p>
            <a:pPr lvl="0"/>
            <a:r>
              <a:rPr lang="de-DE" dirty="0"/>
              <a:t>Überschrift 03</a:t>
            </a:r>
          </a:p>
        </p:txBody>
      </p:sp>
    </p:spTree>
    <p:extLst>
      <p:ext uri="{BB962C8B-B14F-4D97-AF65-F5344CB8AC3E}">
        <p14:creationId xmlns:p14="http://schemas.microsoft.com/office/powerpoint/2010/main" val="1471547953"/>
      </p:ext>
    </p:extLst>
  </p:cSld>
  <p:clrMapOvr>
    <a:masterClrMapping/>
  </p:clrMapOvr>
  <p:extLst>
    <p:ext uri="{DCECCB84-F9BA-43D5-87BE-67443E8EF086}">
      <p15:sldGuideLst xmlns:p15="http://schemas.microsoft.com/office/powerpoint/2012/main" xmlns="">
        <p15:guide id="1" orient="horz" pos="391">
          <p15:clr>
            <a:srgbClr val="FBAE40"/>
          </p15:clr>
        </p15:guide>
        <p15:guide id="3" pos="3840">
          <p15:clr>
            <a:srgbClr val="FBAE40"/>
          </p15:clr>
        </p15:guide>
        <p15:guide id="4" pos="438">
          <p15:clr>
            <a:srgbClr val="FBAE40"/>
          </p15:clr>
        </p15:guide>
        <p15:guide id="5" pos="2593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fik und Stichpunk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oup 398">
            <a:extLst>
              <a:ext uri="{FF2B5EF4-FFF2-40B4-BE49-F238E27FC236}">
                <a16:creationId xmlns:a16="http://schemas.microsoft.com/office/drawing/2014/main" xmlns="" id="{477229A3-9E76-BB41-9771-27F74F13C79A}"/>
              </a:ext>
            </a:extLst>
          </p:cNvPr>
          <p:cNvGrpSpPr/>
          <p:nvPr userDrawn="1"/>
        </p:nvGrpSpPr>
        <p:grpSpPr>
          <a:xfrm rot="10800000" flipH="1">
            <a:off x="-3344845" y="-2433663"/>
            <a:ext cx="14922466" cy="4506760"/>
            <a:chOff x="-2422178" y="5261733"/>
            <a:chExt cx="14922466" cy="4506760"/>
          </a:xfrm>
        </p:grpSpPr>
        <p:sp>
          <p:nvSpPr>
            <p:cNvPr id="10" name="Freeform 30">
              <a:extLst>
                <a:ext uri="{FF2B5EF4-FFF2-40B4-BE49-F238E27FC236}">
                  <a16:creationId xmlns:a16="http://schemas.microsoft.com/office/drawing/2014/main" xmlns="" id="{314C21F7-27E6-7043-AC62-772F4FA1BDCE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11369540">
              <a:off x="4650590" y="6327328"/>
              <a:ext cx="5899454" cy="3076040"/>
            </a:xfrm>
            <a:custGeom>
              <a:avLst/>
              <a:gdLst>
                <a:gd name="T0" fmla="*/ 42 w 8085"/>
                <a:gd name="T1" fmla="*/ 4120 h 4240"/>
                <a:gd name="T2" fmla="*/ 42 w 8085"/>
                <a:gd name="T3" fmla="*/ 4120 h 4240"/>
                <a:gd name="T4" fmla="*/ 271 w 8085"/>
                <a:gd name="T5" fmla="*/ 4197 h 4240"/>
                <a:gd name="T6" fmla="*/ 7966 w 8085"/>
                <a:gd name="T7" fmla="*/ 348 h 4240"/>
                <a:gd name="T8" fmla="*/ 7966 w 8085"/>
                <a:gd name="T9" fmla="*/ 348 h 4240"/>
                <a:gd name="T10" fmla="*/ 8042 w 8085"/>
                <a:gd name="T11" fmla="*/ 119 h 4240"/>
                <a:gd name="T12" fmla="*/ 8042 w 8085"/>
                <a:gd name="T13" fmla="*/ 119 h 4240"/>
                <a:gd name="T14" fmla="*/ 7813 w 8085"/>
                <a:gd name="T15" fmla="*/ 42 h 4240"/>
                <a:gd name="T16" fmla="*/ 119 w 8085"/>
                <a:gd name="T17" fmla="*/ 3891 h 4240"/>
                <a:gd name="T18" fmla="*/ 119 w 8085"/>
                <a:gd name="T19" fmla="*/ 3891 h 4240"/>
                <a:gd name="T20" fmla="*/ 42 w 8085"/>
                <a:gd name="T21" fmla="*/ 4120 h 42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085" h="4240">
                  <a:moveTo>
                    <a:pt x="42" y="4120"/>
                  </a:moveTo>
                  <a:lnTo>
                    <a:pt x="42" y="4120"/>
                  </a:lnTo>
                  <a:cubicBezTo>
                    <a:pt x="85" y="4205"/>
                    <a:pt x="187" y="4239"/>
                    <a:pt x="271" y="4197"/>
                  </a:cubicBezTo>
                  <a:lnTo>
                    <a:pt x="7966" y="348"/>
                  </a:lnTo>
                  <a:lnTo>
                    <a:pt x="7966" y="348"/>
                  </a:lnTo>
                  <a:cubicBezTo>
                    <a:pt x="8051" y="306"/>
                    <a:pt x="8084" y="203"/>
                    <a:pt x="8042" y="119"/>
                  </a:cubicBezTo>
                  <a:lnTo>
                    <a:pt x="8042" y="119"/>
                  </a:lnTo>
                  <a:cubicBezTo>
                    <a:pt x="8000" y="35"/>
                    <a:pt x="7897" y="0"/>
                    <a:pt x="7813" y="42"/>
                  </a:cubicBezTo>
                  <a:lnTo>
                    <a:pt x="119" y="3891"/>
                  </a:lnTo>
                  <a:lnTo>
                    <a:pt x="119" y="3891"/>
                  </a:lnTo>
                  <a:cubicBezTo>
                    <a:pt x="34" y="3933"/>
                    <a:pt x="0" y="4036"/>
                    <a:pt x="42" y="4120"/>
                  </a:cubicBezTo>
                </a:path>
              </a:pathLst>
            </a:custGeom>
            <a:solidFill>
              <a:schemeClr val="accent3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s-ES_tradnl"/>
            </a:p>
          </p:txBody>
        </p:sp>
        <p:sp>
          <p:nvSpPr>
            <p:cNvPr id="11" name="Freeform 31">
              <a:extLst>
                <a:ext uri="{FF2B5EF4-FFF2-40B4-BE49-F238E27FC236}">
                  <a16:creationId xmlns:a16="http://schemas.microsoft.com/office/drawing/2014/main" xmlns="" id="{BAC78CA0-0A9B-C542-9870-908F8588CD23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11369540">
              <a:off x="10881397" y="6141214"/>
              <a:ext cx="1618891" cy="946474"/>
            </a:xfrm>
            <a:custGeom>
              <a:avLst/>
              <a:gdLst>
                <a:gd name="T0" fmla="*/ 42 w 2217"/>
                <a:gd name="T1" fmla="*/ 1184 h 1304"/>
                <a:gd name="T2" fmla="*/ 42 w 2217"/>
                <a:gd name="T3" fmla="*/ 1184 h 1304"/>
                <a:gd name="T4" fmla="*/ 272 w 2217"/>
                <a:gd name="T5" fmla="*/ 1261 h 1304"/>
                <a:gd name="T6" fmla="*/ 2097 w 2217"/>
                <a:gd name="T7" fmla="*/ 348 h 1304"/>
                <a:gd name="T8" fmla="*/ 2097 w 2217"/>
                <a:gd name="T9" fmla="*/ 348 h 1304"/>
                <a:gd name="T10" fmla="*/ 2174 w 2217"/>
                <a:gd name="T11" fmla="*/ 119 h 1304"/>
                <a:gd name="T12" fmla="*/ 2174 w 2217"/>
                <a:gd name="T13" fmla="*/ 119 h 1304"/>
                <a:gd name="T14" fmla="*/ 1945 w 2217"/>
                <a:gd name="T15" fmla="*/ 42 h 1304"/>
                <a:gd name="T16" fmla="*/ 118 w 2217"/>
                <a:gd name="T17" fmla="*/ 955 h 1304"/>
                <a:gd name="T18" fmla="*/ 118 w 2217"/>
                <a:gd name="T19" fmla="*/ 955 h 1304"/>
                <a:gd name="T20" fmla="*/ 42 w 2217"/>
                <a:gd name="T21" fmla="*/ 1184 h 13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217" h="1304">
                  <a:moveTo>
                    <a:pt x="42" y="1184"/>
                  </a:moveTo>
                  <a:lnTo>
                    <a:pt x="42" y="1184"/>
                  </a:lnTo>
                  <a:cubicBezTo>
                    <a:pt x="84" y="1269"/>
                    <a:pt x="187" y="1303"/>
                    <a:pt x="272" y="1261"/>
                  </a:cubicBezTo>
                  <a:lnTo>
                    <a:pt x="2097" y="348"/>
                  </a:lnTo>
                  <a:lnTo>
                    <a:pt x="2097" y="348"/>
                  </a:lnTo>
                  <a:cubicBezTo>
                    <a:pt x="2182" y="305"/>
                    <a:pt x="2216" y="202"/>
                    <a:pt x="2174" y="119"/>
                  </a:cubicBezTo>
                  <a:lnTo>
                    <a:pt x="2174" y="119"/>
                  </a:lnTo>
                  <a:cubicBezTo>
                    <a:pt x="2132" y="34"/>
                    <a:pt x="2029" y="0"/>
                    <a:pt x="1945" y="42"/>
                  </a:cubicBezTo>
                  <a:lnTo>
                    <a:pt x="118" y="955"/>
                  </a:lnTo>
                  <a:lnTo>
                    <a:pt x="118" y="955"/>
                  </a:lnTo>
                  <a:cubicBezTo>
                    <a:pt x="34" y="997"/>
                    <a:pt x="0" y="1100"/>
                    <a:pt x="42" y="1184"/>
                  </a:cubicBezTo>
                </a:path>
              </a:pathLst>
            </a:custGeom>
            <a:solidFill>
              <a:schemeClr val="accent3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s-ES_tradnl"/>
            </a:p>
          </p:txBody>
        </p:sp>
        <p:sp>
          <p:nvSpPr>
            <p:cNvPr id="12" name="Freeform 32">
              <a:extLst>
                <a:ext uri="{FF2B5EF4-FFF2-40B4-BE49-F238E27FC236}">
                  <a16:creationId xmlns:a16="http://schemas.microsoft.com/office/drawing/2014/main" xmlns="" id="{E49983F3-35C9-374C-980E-C025B62D63BB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11369540">
              <a:off x="5431363" y="6515404"/>
              <a:ext cx="5902672" cy="3076040"/>
            </a:xfrm>
            <a:custGeom>
              <a:avLst/>
              <a:gdLst>
                <a:gd name="T0" fmla="*/ 42 w 8086"/>
                <a:gd name="T1" fmla="*/ 4120 h 4240"/>
                <a:gd name="T2" fmla="*/ 42 w 8086"/>
                <a:gd name="T3" fmla="*/ 4120 h 4240"/>
                <a:gd name="T4" fmla="*/ 271 w 8086"/>
                <a:gd name="T5" fmla="*/ 4196 h 4240"/>
                <a:gd name="T6" fmla="*/ 7966 w 8086"/>
                <a:gd name="T7" fmla="*/ 348 h 4240"/>
                <a:gd name="T8" fmla="*/ 7966 w 8086"/>
                <a:gd name="T9" fmla="*/ 348 h 4240"/>
                <a:gd name="T10" fmla="*/ 8043 w 8086"/>
                <a:gd name="T11" fmla="*/ 119 h 4240"/>
                <a:gd name="T12" fmla="*/ 8043 w 8086"/>
                <a:gd name="T13" fmla="*/ 119 h 4240"/>
                <a:gd name="T14" fmla="*/ 7814 w 8086"/>
                <a:gd name="T15" fmla="*/ 42 h 4240"/>
                <a:gd name="T16" fmla="*/ 118 w 8086"/>
                <a:gd name="T17" fmla="*/ 3891 h 4240"/>
                <a:gd name="T18" fmla="*/ 118 w 8086"/>
                <a:gd name="T19" fmla="*/ 3891 h 4240"/>
                <a:gd name="T20" fmla="*/ 42 w 8086"/>
                <a:gd name="T21" fmla="*/ 4120 h 42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086" h="4240">
                  <a:moveTo>
                    <a:pt x="42" y="4120"/>
                  </a:moveTo>
                  <a:lnTo>
                    <a:pt x="42" y="4120"/>
                  </a:lnTo>
                  <a:cubicBezTo>
                    <a:pt x="84" y="4204"/>
                    <a:pt x="187" y="4239"/>
                    <a:pt x="271" y="4196"/>
                  </a:cubicBezTo>
                  <a:lnTo>
                    <a:pt x="7966" y="348"/>
                  </a:lnTo>
                  <a:lnTo>
                    <a:pt x="7966" y="348"/>
                  </a:lnTo>
                  <a:cubicBezTo>
                    <a:pt x="8051" y="305"/>
                    <a:pt x="8085" y="203"/>
                    <a:pt x="8043" y="119"/>
                  </a:cubicBezTo>
                  <a:lnTo>
                    <a:pt x="8043" y="119"/>
                  </a:lnTo>
                  <a:cubicBezTo>
                    <a:pt x="8001" y="34"/>
                    <a:pt x="7898" y="0"/>
                    <a:pt x="7814" y="42"/>
                  </a:cubicBezTo>
                  <a:lnTo>
                    <a:pt x="118" y="3891"/>
                  </a:lnTo>
                  <a:lnTo>
                    <a:pt x="118" y="3891"/>
                  </a:lnTo>
                  <a:cubicBezTo>
                    <a:pt x="34" y="3933"/>
                    <a:pt x="0" y="4036"/>
                    <a:pt x="42" y="4120"/>
                  </a:cubicBezTo>
                </a:path>
              </a:pathLst>
            </a:custGeom>
            <a:solidFill>
              <a:schemeClr val="accent4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s-ES_tradnl"/>
            </a:p>
          </p:txBody>
        </p:sp>
        <p:sp>
          <p:nvSpPr>
            <p:cNvPr id="13" name="Freeform 33">
              <a:extLst>
                <a:ext uri="{FF2B5EF4-FFF2-40B4-BE49-F238E27FC236}">
                  <a16:creationId xmlns:a16="http://schemas.microsoft.com/office/drawing/2014/main" xmlns="" id="{CC868B2E-AF95-484D-8FC3-B01EB4DB262A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11369540">
              <a:off x="11606436" y="6832104"/>
              <a:ext cx="418401" cy="348532"/>
            </a:xfrm>
            <a:custGeom>
              <a:avLst/>
              <a:gdLst>
                <a:gd name="T0" fmla="*/ 42 w 574"/>
                <a:gd name="T1" fmla="*/ 362 h 482"/>
                <a:gd name="T2" fmla="*/ 42 w 574"/>
                <a:gd name="T3" fmla="*/ 362 h 482"/>
                <a:gd name="T4" fmla="*/ 272 w 574"/>
                <a:gd name="T5" fmla="*/ 439 h 482"/>
                <a:gd name="T6" fmla="*/ 455 w 574"/>
                <a:gd name="T7" fmla="*/ 348 h 482"/>
                <a:gd name="T8" fmla="*/ 455 w 574"/>
                <a:gd name="T9" fmla="*/ 348 h 482"/>
                <a:gd name="T10" fmla="*/ 531 w 574"/>
                <a:gd name="T11" fmla="*/ 119 h 482"/>
                <a:gd name="T12" fmla="*/ 531 w 574"/>
                <a:gd name="T13" fmla="*/ 119 h 482"/>
                <a:gd name="T14" fmla="*/ 301 w 574"/>
                <a:gd name="T15" fmla="*/ 42 h 482"/>
                <a:gd name="T16" fmla="*/ 119 w 574"/>
                <a:gd name="T17" fmla="*/ 133 h 482"/>
                <a:gd name="T18" fmla="*/ 119 w 574"/>
                <a:gd name="T19" fmla="*/ 133 h 482"/>
                <a:gd name="T20" fmla="*/ 42 w 574"/>
                <a:gd name="T21" fmla="*/ 362 h 4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74" h="482">
                  <a:moveTo>
                    <a:pt x="42" y="362"/>
                  </a:moveTo>
                  <a:lnTo>
                    <a:pt x="42" y="362"/>
                  </a:lnTo>
                  <a:cubicBezTo>
                    <a:pt x="84" y="447"/>
                    <a:pt x="187" y="481"/>
                    <a:pt x="272" y="439"/>
                  </a:cubicBezTo>
                  <a:lnTo>
                    <a:pt x="455" y="348"/>
                  </a:lnTo>
                  <a:lnTo>
                    <a:pt x="455" y="348"/>
                  </a:lnTo>
                  <a:cubicBezTo>
                    <a:pt x="539" y="306"/>
                    <a:pt x="573" y="203"/>
                    <a:pt x="531" y="119"/>
                  </a:cubicBezTo>
                  <a:lnTo>
                    <a:pt x="531" y="119"/>
                  </a:lnTo>
                  <a:cubicBezTo>
                    <a:pt x="488" y="34"/>
                    <a:pt x="386" y="0"/>
                    <a:pt x="301" y="42"/>
                  </a:cubicBezTo>
                  <a:lnTo>
                    <a:pt x="119" y="133"/>
                  </a:lnTo>
                  <a:lnTo>
                    <a:pt x="119" y="133"/>
                  </a:lnTo>
                  <a:cubicBezTo>
                    <a:pt x="34" y="176"/>
                    <a:pt x="0" y="278"/>
                    <a:pt x="42" y="362"/>
                  </a:cubicBezTo>
                </a:path>
              </a:pathLst>
            </a:custGeom>
            <a:solidFill>
              <a:schemeClr val="accent4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s-ES_tradnl"/>
            </a:p>
          </p:txBody>
        </p:sp>
        <p:sp>
          <p:nvSpPr>
            <p:cNvPr id="14" name="Freeform 34">
              <a:extLst>
                <a:ext uri="{FF2B5EF4-FFF2-40B4-BE49-F238E27FC236}">
                  <a16:creationId xmlns:a16="http://schemas.microsoft.com/office/drawing/2014/main" xmlns="" id="{75A62955-FB4E-754A-8E23-8E3745D346B6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11369540">
              <a:off x="12128624" y="6722491"/>
              <a:ext cx="286444" cy="284583"/>
            </a:xfrm>
            <a:custGeom>
              <a:avLst/>
              <a:gdLst>
                <a:gd name="T0" fmla="*/ 43 w 392"/>
                <a:gd name="T1" fmla="*/ 272 h 392"/>
                <a:gd name="T2" fmla="*/ 43 w 392"/>
                <a:gd name="T3" fmla="*/ 272 h 392"/>
                <a:gd name="T4" fmla="*/ 272 w 392"/>
                <a:gd name="T5" fmla="*/ 349 h 392"/>
                <a:gd name="T6" fmla="*/ 272 w 392"/>
                <a:gd name="T7" fmla="*/ 349 h 392"/>
                <a:gd name="T8" fmla="*/ 349 w 392"/>
                <a:gd name="T9" fmla="*/ 119 h 392"/>
                <a:gd name="T10" fmla="*/ 349 w 392"/>
                <a:gd name="T11" fmla="*/ 119 h 392"/>
                <a:gd name="T12" fmla="*/ 120 w 392"/>
                <a:gd name="T13" fmla="*/ 43 h 392"/>
                <a:gd name="T14" fmla="*/ 120 w 392"/>
                <a:gd name="T15" fmla="*/ 43 h 392"/>
                <a:gd name="T16" fmla="*/ 43 w 392"/>
                <a:gd name="T17" fmla="*/ 272 h 3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92" h="392">
                  <a:moveTo>
                    <a:pt x="43" y="272"/>
                  </a:moveTo>
                  <a:lnTo>
                    <a:pt x="43" y="272"/>
                  </a:lnTo>
                  <a:cubicBezTo>
                    <a:pt x="85" y="356"/>
                    <a:pt x="188" y="391"/>
                    <a:pt x="272" y="349"/>
                  </a:cubicBezTo>
                  <a:lnTo>
                    <a:pt x="272" y="349"/>
                  </a:lnTo>
                  <a:cubicBezTo>
                    <a:pt x="357" y="306"/>
                    <a:pt x="391" y="204"/>
                    <a:pt x="349" y="119"/>
                  </a:cubicBezTo>
                  <a:lnTo>
                    <a:pt x="349" y="119"/>
                  </a:lnTo>
                  <a:cubicBezTo>
                    <a:pt x="306" y="34"/>
                    <a:pt x="203" y="0"/>
                    <a:pt x="120" y="43"/>
                  </a:cubicBezTo>
                  <a:lnTo>
                    <a:pt x="120" y="43"/>
                  </a:lnTo>
                  <a:cubicBezTo>
                    <a:pt x="35" y="85"/>
                    <a:pt x="0" y="188"/>
                    <a:pt x="43" y="272"/>
                  </a:cubicBezTo>
                </a:path>
              </a:pathLst>
            </a:custGeom>
            <a:solidFill>
              <a:schemeClr val="accent4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s-ES_tradnl"/>
            </a:p>
          </p:txBody>
        </p:sp>
        <p:sp>
          <p:nvSpPr>
            <p:cNvPr id="15" name="Freeform 35">
              <a:extLst>
                <a:ext uri="{FF2B5EF4-FFF2-40B4-BE49-F238E27FC236}">
                  <a16:creationId xmlns:a16="http://schemas.microsoft.com/office/drawing/2014/main" xmlns="" id="{E37B1423-A1F5-9043-9F2B-E465197C3322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11369540">
              <a:off x="4897036" y="8934284"/>
              <a:ext cx="286444" cy="284583"/>
            </a:xfrm>
            <a:custGeom>
              <a:avLst/>
              <a:gdLst>
                <a:gd name="T0" fmla="*/ 42 w 392"/>
                <a:gd name="T1" fmla="*/ 272 h 392"/>
                <a:gd name="T2" fmla="*/ 42 w 392"/>
                <a:gd name="T3" fmla="*/ 272 h 392"/>
                <a:gd name="T4" fmla="*/ 272 w 392"/>
                <a:gd name="T5" fmla="*/ 349 h 392"/>
                <a:gd name="T6" fmla="*/ 272 w 392"/>
                <a:gd name="T7" fmla="*/ 349 h 392"/>
                <a:gd name="T8" fmla="*/ 348 w 392"/>
                <a:gd name="T9" fmla="*/ 119 h 392"/>
                <a:gd name="T10" fmla="*/ 348 w 392"/>
                <a:gd name="T11" fmla="*/ 119 h 392"/>
                <a:gd name="T12" fmla="*/ 119 w 392"/>
                <a:gd name="T13" fmla="*/ 43 h 392"/>
                <a:gd name="T14" fmla="*/ 119 w 392"/>
                <a:gd name="T15" fmla="*/ 43 h 392"/>
                <a:gd name="T16" fmla="*/ 42 w 392"/>
                <a:gd name="T17" fmla="*/ 272 h 3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92" h="392">
                  <a:moveTo>
                    <a:pt x="42" y="272"/>
                  </a:moveTo>
                  <a:lnTo>
                    <a:pt x="42" y="272"/>
                  </a:lnTo>
                  <a:cubicBezTo>
                    <a:pt x="85" y="357"/>
                    <a:pt x="188" y="391"/>
                    <a:pt x="272" y="349"/>
                  </a:cubicBezTo>
                  <a:lnTo>
                    <a:pt x="272" y="349"/>
                  </a:lnTo>
                  <a:cubicBezTo>
                    <a:pt x="356" y="306"/>
                    <a:pt x="391" y="204"/>
                    <a:pt x="348" y="119"/>
                  </a:cubicBezTo>
                  <a:lnTo>
                    <a:pt x="348" y="119"/>
                  </a:lnTo>
                  <a:cubicBezTo>
                    <a:pt x="306" y="35"/>
                    <a:pt x="203" y="0"/>
                    <a:pt x="119" y="43"/>
                  </a:cubicBezTo>
                  <a:lnTo>
                    <a:pt x="119" y="43"/>
                  </a:lnTo>
                  <a:cubicBezTo>
                    <a:pt x="34" y="85"/>
                    <a:pt x="0" y="188"/>
                    <a:pt x="42" y="272"/>
                  </a:cubicBezTo>
                </a:path>
              </a:pathLst>
            </a:custGeom>
            <a:solidFill>
              <a:schemeClr val="accent4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s-ES_tradnl"/>
            </a:p>
          </p:txBody>
        </p:sp>
        <p:sp>
          <p:nvSpPr>
            <p:cNvPr id="17" name="Freeform 36">
              <a:extLst>
                <a:ext uri="{FF2B5EF4-FFF2-40B4-BE49-F238E27FC236}">
                  <a16:creationId xmlns:a16="http://schemas.microsoft.com/office/drawing/2014/main" xmlns="" id="{CE82EDE7-7279-2447-BDF6-601B815F8127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11369540">
              <a:off x="4950087" y="5384855"/>
              <a:ext cx="5899452" cy="3072842"/>
            </a:xfrm>
            <a:custGeom>
              <a:avLst/>
              <a:gdLst>
                <a:gd name="T0" fmla="*/ 42 w 8085"/>
                <a:gd name="T1" fmla="*/ 4120 h 4239"/>
                <a:gd name="T2" fmla="*/ 42 w 8085"/>
                <a:gd name="T3" fmla="*/ 4120 h 4239"/>
                <a:gd name="T4" fmla="*/ 272 w 8085"/>
                <a:gd name="T5" fmla="*/ 4197 h 4239"/>
                <a:gd name="T6" fmla="*/ 7966 w 8085"/>
                <a:gd name="T7" fmla="*/ 348 h 4239"/>
                <a:gd name="T8" fmla="*/ 7966 w 8085"/>
                <a:gd name="T9" fmla="*/ 348 h 4239"/>
                <a:gd name="T10" fmla="*/ 8042 w 8085"/>
                <a:gd name="T11" fmla="*/ 119 h 4239"/>
                <a:gd name="T12" fmla="*/ 8042 w 8085"/>
                <a:gd name="T13" fmla="*/ 119 h 4239"/>
                <a:gd name="T14" fmla="*/ 7813 w 8085"/>
                <a:gd name="T15" fmla="*/ 42 h 4239"/>
                <a:gd name="T16" fmla="*/ 119 w 8085"/>
                <a:gd name="T17" fmla="*/ 3891 h 4239"/>
                <a:gd name="T18" fmla="*/ 119 w 8085"/>
                <a:gd name="T19" fmla="*/ 3891 h 4239"/>
                <a:gd name="T20" fmla="*/ 42 w 8085"/>
                <a:gd name="T21" fmla="*/ 4120 h 4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085" h="4239">
                  <a:moveTo>
                    <a:pt x="42" y="4120"/>
                  </a:moveTo>
                  <a:lnTo>
                    <a:pt x="42" y="4120"/>
                  </a:lnTo>
                  <a:cubicBezTo>
                    <a:pt x="85" y="4204"/>
                    <a:pt x="187" y="4238"/>
                    <a:pt x="272" y="4197"/>
                  </a:cubicBezTo>
                  <a:lnTo>
                    <a:pt x="7966" y="348"/>
                  </a:lnTo>
                  <a:lnTo>
                    <a:pt x="7966" y="348"/>
                  </a:lnTo>
                  <a:cubicBezTo>
                    <a:pt x="8051" y="306"/>
                    <a:pt x="8084" y="203"/>
                    <a:pt x="8042" y="119"/>
                  </a:cubicBezTo>
                  <a:lnTo>
                    <a:pt x="8042" y="119"/>
                  </a:lnTo>
                  <a:cubicBezTo>
                    <a:pt x="8000" y="34"/>
                    <a:pt x="7898" y="0"/>
                    <a:pt x="7813" y="42"/>
                  </a:cubicBezTo>
                  <a:lnTo>
                    <a:pt x="119" y="3891"/>
                  </a:lnTo>
                  <a:lnTo>
                    <a:pt x="119" y="3891"/>
                  </a:lnTo>
                  <a:cubicBezTo>
                    <a:pt x="34" y="3933"/>
                    <a:pt x="0" y="4036"/>
                    <a:pt x="42" y="4120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s-ES_tradnl"/>
            </a:p>
          </p:txBody>
        </p:sp>
        <p:sp>
          <p:nvSpPr>
            <p:cNvPr id="20" name="Freeform 37">
              <a:extLst>
                <a:ext uri="{FF2B5EF4-FFF2-40B4-BE49-F238E27FC236}">
                  <a16:creationId xmlns:a16="http://schemas.microsoft.com/office/drawing/2014/main" xmlns="" id="{1A4DEC4B-3129-6947-865E-97EFA4467E9B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11369540">
              <a:off x="6276581" y="6249359"/>
              <a:ext cx="621163" cy="450856"/>
            </a:xfrm>
            <a:custGeom>
              <a:avLst/>
              <a:gdLst>
                <a:gd name="T0" fmla="*/ 42 w 849"/>
                <a:gd name="T1" fmla="*/ 501 h 620"/>
                <a:gd name="T2" fmla="*/ 42 w 849"/>
                <a:gd name="T3" fmla="*/ 501 h 620"/>
                <a:gd name="T4" fmla="*/ 271 w 849"/>
                <a:gd name="T5" fmla="*/ 577 h 620"/>
                <a:gd name="T6" fmla="*/ 729 w 849"/>
                <a:gd name="T7" fmla="*/ 348 h 620"/>
                <a:gd name="T8" fmla="*/ 729 w 849"/>
                <a:gd name="T9" fmla="*/ 348 h 620"/>
                <a:gd name="T10" fmla="*/ 805 w 849"/>
                <a:gd name="T11" fmla="*/ 118 h 620"/>
                <a:gd name="T12" fmla="*/ 805 w 849"/>
                <a:gd name="T13" fmla="*/ 118 h 620"/>
                <a:gd name="T14" fmla="*/ 576 w 849"/>
                <a:gd name="T15" fmla="*/ 42 h 620"/>
                <a:gd name="T16" fmla="*/ 118 w 849"/>
                <a:gd name="T17" fmla="*/ 271 h 620"/>
                <a:gd name="T18" fmla="*/ 118 w 849"/>
                <a:gd name="T19" fmla="*/ 271 h 620"/>
                <a:gd name="T20" fmla="*/ 42 w 849"/>
                <a:gd name="T21" fmla="*/ 501 h 6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49" h="620">
                  <a:moveTo>
                    <a:pt x="42" y="501"/>
                  </a:moveTo>
                  <a:lnTo>
                    <a:pt x="42" y="501"/>
                  </a:lnTo>
                  <a:cubicBezTo>
                    <a:pt x="84" y="584"/>
                    <a:pt x="187" y="619"/>
                    <a:pt x="271" y="577"/>
                  </a:cubicBezTo>
                  <a:lnTo>
                    <a:pt x="729" y="348"/>
                  </a:lnTo>
                  <a:lnTo>
                    <a:pt x="729" y="348"/>
                  </a:lnTo>
                  <a:cubicBezTo>
                    <a:pt x="813" y="306"/>
                    <a:pt x="848" y="203"/>
                    <a:pt x="805" y="118"/>
                  </a:cubicBezTo>
                  <a:lnTo>
                    <a:pt x="805" y="118"/>
                  </a:lnTo>
                  <a:cubicBezTo>
                    <a:pt x="763" y="34"/>
                    <a:pt x="660" y="0"/>
                    <a:pt x="576" y="42"/>
                  </a:cubicBezTo>
                  <a:lnTo>
                    <a:pt x="118" y="271"/>
                  </a:lnTo>
                  <a:lnTo>
                    <a:pt x="118" y="271"/>
                  </a:lnTo>
                  <a:cubicBezTo>
                    <a:pt x="33" y="313"/>
                    <a:pt x="0" y="416"/>
                    <a:pt x="42" y="501"/>
                  </a:cubicBezTo>
                </a:path>
              </a:pathLst>
            </a:custGeom>
            <a:solidFill>
              <a:schemeClr val="accent3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s-ES_tradnl"/>
            </a:p>
          </p:txBody>
        </p:sp>
        <p:sp>
          <p:nvSpPr>
            <p:cNvPr id="21" name="Freeform 38">
              <a:extLst>
                <a:ext uri="{FF2B5EF4-FFF2-40B4-BE49-F238E27FC236}">
                  <a16:creationId xmlns:a16="http://schemas.microsoft.com/office/drawing/2014/main" xmlns="" id="{AB90BC07-9FCA-E04E-8B9A-C898B1F79464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11369540">
              <a:off x="4108581" y="7789124"/>
              <a:ext cx="553576" cy="415681"/>
            </a:xfrm>
            <a:custGeom>
              <a:avLst/>
              <a:gdLst>
                <a:gd name="T0" fmla="*/ 43 w 758"/>
                <a:gd name="T1" fmla="*/ 455 h 574"/>
                <a:gd name="T2" fmla="*/ 43 w 758"/>
                <a:gd name="T3" fmla="*/ 455 h 574"/>
                <a:gd name="T4" fmla="*/ 272 w 758"/>
                <a:gd name="T5" fmla="*/ 531 h 574"/>
                <a:gd name="T6" fmla="*/ 638 w 758"/>
                <a:gd name="T7" fmla="*/ 348 h 574"/>
                <a:gd name="T8" fmla="*/ 638 w 758"/>
                <a:gd name="T9" fmla="*/ 348 h 574"/>
                <a:gd name="T10" fmla="*/ 714 w 758"/>
                <a:gd name="T11" fmla="*/ 119 h 574"/>
                <a:gd name="T12" fmla="*/ 714 w 758"/>
                <a:gd name="T13" fmla="*/ 119 h 574"/>
                <a:gd name="T14" fmla="*/ 485 w 758"/>
                <a:gd name="T15" fmla="*/ 42 h 574"/>
                <a:gd name="T16" fmla="*/ 119 w 758"/>
                <a:gd name="T17" fmla="*/ 225 h 574"/>
                <a:gd name="T18" fmla="*/ 119 w 758"/>
                <a:gd name="T19" fmla="*/ 225 h 574"/>
                <a:gd name="T20" fmla="*/ 43 w 758"/>
                <a:gd name="T21" fmla="*/ 455 h 5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58" h="574">
                  <a:moveTo>
                    <a:pt x="43" y="455"/>
                  </a:moveTo>
                  <a:lnTo>
                    <a:pt x="43" y="455"/>
                  </a:lnTo>
                  <a:cubicBezTo>
                    <a:pt x="85" y="539"/>
                    <a:pt x="188" y="573"/>
                    <a:pt x="272" y="531"/>
                  </a:cubicBezTo>
                  <a:lnTo>
                    <a:pt x="638" y="348"/>
                  </a:lnTo>
                  <a:lnTo>
                    <a:pt x="638" y="348"/>
                  </a:lnTo>
                  <a:cubicBezTo>
                    <a:pt x="723" y="305"/>
                    <a:pt x="757" y="203"/>
                    <a:pt x="714" y="119"/>
                  </a:cubicBezTo>
                  <a:lnTo>
                    <a:pt x="714" y="119"/>
                  </a:lnTo>
                  <a:cubicBezTo>
                    <a:pt x="672" y="34"/>
                    <a:pt x="569" y="0"/>
                    <a:pt x="485" y="42"/>
                  </a:cubicBezTo>
                  <a:lnTo>
                    <a:pt x="119" y="225"/>
                  </a:lnTo>
                  <a:lnTo>
                    <a:pt x="119" y="225"/>
                  </a:lnTo>
                  <a:cubicBezTo>
                    <a:pt x="34" y="267"/>
                    <a:pt x="0" y="370"/>
                    <a:pt x="43" y="45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s-ES_tradnl"/>
            </a:p>
          </p:txBody>
        </p:sp>
        <p:sp>
          <p:nvSpPr>
            <p:cNvPr id="24" name="Freeform 39">
              <a:extLst>
                <a:ext uri="{FF2B5EF4-FFF2-40B4-BE49-F238E27FC236}">
                  <a16:creationId xmlns:a16="http://schemas.microsoft.com/office/drawing/2014/main" xmlns="" id="{94214701-70A7-0345-84B8-960F0F6BF0F2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11369540">
              <a:off x="5737739" y="5570829"/>
              <a:ext cx="5902672" cy="3072844"/>
            </a:xfrm>
            <a:custGeom>
              <a:avLst/>
              <a:gdLst>
                <a:gd name="T0" fmla="*/ 8043 w 8086"/>
                <a:gd name="T1" fmla="*/ 118 h 4239"/>
                <a:gd name="T2" fmla="*/ 8043 w 8086"/>
                <a:gd name="T3" fmla="*/ 118 h 4239"/>
                <a:gd name="T4" fmla="*/ 7814 w 8086"/>
                <a:gd name="T5" fmla="*/ 42 h 4239"/>
                <a:gd name="T6" fmla="*/ 119 w 8086"/>
                <a:gd name="T7" fmla="*/ 3890 h 4239"/>
                <a:gd name="T8" fmla="*/ 119 w 8086"/>
                <a:gd name="T9" fmla="*/ 3890 h 4239"/>
                <a:gd name="T10" fmla="*/ 42 w 8086"/>
                <a:gd name="T11" fmla="*/ 4120 h 4239"/>
                <a:gd name="T12" fmla="*/ 42 w 8086"/>
                <a:gd name="T13" fmla="*/ 4120 h 4239"/>
                <a:gd name="T14" fmla="*/ 272 w 8086"/>
                <a:gd name="T15" fmla="*/ 4196 h 4239"/>
                <a:gd name="T16" fmla="*/ 7967 w 8086"/>
                <a:gd name="T17" fmla="*/ 347 h 4239"/>
                <a:gd name="T18" fmla="*/ 7967 w 8086"/>
                <a:gd name="T19" fmla="*/ 347 h 4239"/>
                <a:gd name="T20" fmla="*/ 8043 w 8086"/>
                <a:gd name="T21" fmla="*/ 118 h 4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086" h="4239">
                  <a:moveTo>
                    <a:pt x="8043" y="118"/>
                  </a:moveTo>
                  <a:lnTo>
                    <a:pt x="8043" y="118"/>
                  </a:lnTo>
                  <a:cubicBezTo>
                    <a:pt x="8001" y="34"/>
                    <a:pt x="7898" y="0"/>
                    <a:pt x="7814" y="42"/>
                  </a:cubicBezTo>
                  <a:lnTo>
                    <a:pt x="119" y="3890"/>
                  </a:lnTo>
                  <a:lnTo>
                    <a:pt x="119" y="3890"/>
                  </a:lnTo>
                  <a:cubicBezTo>
                    <a:pt x="34" y="3932"/>
                    <a:pt x="0" y="4035"/>
                    <a:pt x="42" y="4120"/>
                  </a:cubicBezTo>
                  <a:lnTo>
                    <a:pt x="42" y="4120"/>
                  </a:lnTo>
                  <a:cubicBezTo>
                    <a:pt x="84" y="4204"/>
                    <a:pt x="187" y="4238"/>
                    <a:pt x="272" y="4196"/>
                  </a:cubicBezTo>
                  <a:lnTo>
                    <a:pt x="7967" y="347"/>
                  </a:lnTo>
                  <a:lnTo>
                    <a:pt x="7967" y="347"/>
                  </a:lnTo>
                  <a:cubicBezTo>
                    <a:pt x="8051" y="305"/>
                    <a:pt x="8085" y="203"/>
                    <a:pt x="8043" y="118"/>
                  </a:cubicBezTo>
                </a:path>
              </a:pathLst>
            </a:custGeom>
            <a:solidFill>
              <a:schemeClr val="accent2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s-ES_tradnl"/>
            </a:p>
          </p:txBody>
        </p:sp>
        <p:sp>
          <p:nvSpPr>
            <p:cNvPr id="25" name="Freeform 40">
              <a:extLst>
                <a:ext uri="{FF2B5EF4-FFF2-40B4-BE49-F238E27FC236}">
                  <a16:creationId xmlns:a16="http://schemas.microsoft.com/office/drawing/2014/main" xmlns="" id="{41B6DBD1-D1BC-BB46-A349-2F3EC98D435A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11369540">
              <a:off x="4840522" y="7961449"/>
              <a:ext cx="617946" cy="450856"/>
            </a:xfrm>
            <a:custGeom>
              <a:avLst/>
              <a:gdLst>
                <a:gd name="T0" fmla="*/ 804 w 848"/>
                <a:gd name="T1" fmla="*/ 119 h 620"/>
                <a:gd name="T2" fmla="*/ 804 w 848"/>
                <a:gd name="T3" fmla="*/ 119 h 620"/>
                <a:gd name="T4" fmla="*/ 576 w 848"/>
                <a:gd name="T5" fmla="*/ 42 h 620"/>
                <a:gd name="T6" fmla="*/ 118 w 848"/>
                <a:gd name="T7" fmla="*/ 271 h 620"/>
                <a:gd name="T8" fmla="*/ 118 w 848"/>
                <a:gd name="T9" fmla="*/ 271 h 620"/>
                <a:gd name="T10" fmla="*/ 41 w 848"/>
                <a:gd name="T11" fmla="*/ 501 h 620"/>
                <a:gd name="T12" fmla="*/ 41 w 848"/>
                <a:gd name="T13" fmla="*/ 501 h 620"/>
                <a:gd name="T14" fmla="*/ 271 w 848"/>
                <a:gd name="T15" fmla="*/ 577 h 620"/>
                <a:gd name="T16" fmla="*/ 727 w 848"/>
                <a:gd name="T17" fmla="*/ 348 h 620"/>
                <a:gd name="T18" fmla="*/ 727 w 848"/>
                <a:gd name="T19" fmla="*/ 348 h 620"/>
                <a:gd name="T20" fmla="*/ 804 w 848"/>
                <a:gd name="T21" fmla="*/ 119 h 6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48" h="620">
                  <a:moveTo>
                    <a:pt x="804" y="119"/>
                  </a:moveTo>
                  <a:lnTo>
                    <a:pt x="804" y="119"/>
                  </a:lnTo>
                  <a:cubicBezTo>
                    <a:pt x="762" y="34"/>
                    <a:pt x="659" y="0"/>
                    <a:pt x="576" y="42"/>
                  </a:cubicBezTo>
                  <a:lnTo>
                    <a:pt x="118" y="271"/>
                  </a:lnTo>
                  <a:lnTo>
                    <a:pt x="118" y="271"/>
                  </a:lnTo>
                  <a:cubicBezTo>
                    <a:pt x="33" y="313"/>
                    <a:pt x="0" y="416"/>
                    <a:pt x="41" y="501"/>
                  </a:cubicBezTo>
                  <a:lnTo>
                    <a:pt x="41" y="501"/>
                  </a:lnTo>
                  <a:cubicBezTo>
                    <a:pt x="83" y="585"/>
                    <a:pt x="186" y="619"/>
                    <a:pt x="271" y="577"/>
                  </a:cubicBezTo>
                  <a:lnTo>
                    <a:pt x="727" y="348"/>
                  </a:lnTo>
                  <a:lnTo>
                    <a:pt x="727" y="348"/>
                  </a:lnTo>
                  <a:cubicBezTo>
                    <a:pt x="812" y="306"/>
                    <a:pt x="847" y="203"/>
                    <a:pt x="804" y="119"/>
                  </a:cubicBezTo>
                </a:path>
              </a:pathLst>
            </a:custGeom>
            <a:solidFill>
              <a:schemeClr val="accent2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s-ES_tradnl"/>
            </a:p>
          </p:txBody>
        </p:sp>
        <p:sp>
          <p:nvSpPr>
            <p:cNvPr id="26" name="Freeform 41">
              <a:extLst>
                <a:ext uri="{FF2B5EF4-FFF2-40B4-BE49-F238E27FC236}">
                  <a16:creationId xmlns:a16="http://schemas.microsoft.com/office/drawing/2014/main" xmlns="" id="{8A7D4422-8675-9341-82C0-8398B0F4E0AB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11369540">
              <a:off x="4440513" y="8216642"/>
              <a:ext cx="286442" cy="284583"/>
            </a:xfrm>
            <a:custGeom>
              <a:avLst/>
              <a:gdLst>
                <a:gd name="T0" fmla="*/ 348 w 391"/>
                <a:gd name="T1" fmla="*/ 119 h 391"/>
                <a:gd name="T2" fmla="*/ 348 w 391"/>
                <a:gd name="T3" fmla="*/ 119 h 391"/>
                <a:gd name="T4" fmla="*/ 118 w 391"/>
                <a:gd name="T5" fmla="*/ 42 h 391"/>
                <a:gd name="T6" fmla="*/ 118 w 391"/>
                <a:gd name="T7" fmla="*/ 42 h 391"/>
                <a:gd name="T8" fmla="*/ 42 w 391"/>
                <a:gd name="T9" fmla="*/ 271 h 391"/>
                <a:gd name="T10" fmla="*/ 42 w 391"/>
                <a:gd name="T11" fmla="*/ 271 h 391"/>
                <a:gd name="T12" fmla="*/ 271 w 391"/>
                <a:gd name="T13" fmla="*/ 348 h 391"/>
                <a:gd name="T14" fmla="*/ 271 w 391"/>
                <a:gd name="T15" fmla="*/ 348 h 391"/>
                <a:gd name="T16" fmla="*/ 348 w 391"/>
                <a:gd name="T17" fmla="*/ 119 h 3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91" h="391">
                  <a:moveTo>
                    <a:pt x="348" y="119"/>
                  </a:moveTo>
                  <a:lnTo>
                    <a:pt x="348" y="119"/>
                  </a:lnTo>
                  <a:cubicBezTo>
                    <a:pt x="305" y="34"/>
                    <a:pt x="203" y="0"/>
                    <a:pt x="118" y="42"/>
                  </a:cubicBezTo>
                  <a:lnTo>
                    <a:pt x="118" y="42"/>
                  </a:lnTo>
                  <a:cubicBezTo>
                    <a:pt x="33" y="84"/>
                    <a:pt x="0" y="187"/>
                    <a:pt x="42" y="271"/>
                  </a:cubicBezTo>
                  <a:lnTo>
                    <a:pt x="42" y="271"/>
                  </a:lnTo>
                  <a:cubicBezTo>
                    <a:pt x="84" y="356"/>
                    <a:pt x="187" y="390"/>
                    <a:pt x="271" y="348"/>
                  </a:cubicBezTo>
                  <a:lnTo>
                    <a:pt x="271" y="348"/>
                  </a:lnTo>
                  <a:cubicBezTo>
                    <a:pt x="355" y="305"/>
                    <a:pt x="390" y="203"/>
                    <a:pt x="348" y="119"/>
                  </a:cubicBezTo>
                </a:path>
              </a:pathLst>
            </a:custGeom>
            <a:solidFill>
              <a:schemeClr val="accent2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s-ES_tradnl"/>
            </a:p>
          </p:txBody>
        </p:sp>
        <p:sp>
          <p:nvSpPr>
            <p:cNvPr id="27" name="Freeform 42">
              <a:extLst>
                <a:ext uri="{FF2B5EF4-FFF2-40B4-BE49-F238E27FC236}">
                  <a16:creationId xmlns:a16="http://schemas.microsoft.com/office/drawing/2014/main" xmlns="" id="{8DEDB9C3-1413-5E44-BC8F-115F147479B7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11369540">
              <a:off x="11891224" y="5943648"/>
              <a:ext cx="283226" cy="284583"/>
            </a:xfrm>
            <a:custGeom>
              <a:avLst/>
              <a:gdLst>
                <a:gd name="T0" fmla="*/ 347 w 390"/>
                <a:gd name="T1" fmla="*/ 119 h 392"/>
                <a:gd name="T2" fmla="*/ 347 w 390"/>
                <a:gd name="T3" fmla="*/ 119 h 392"/>
                <a:gd name="T4" fmla="*/ 118 w 390"/>
                <a:gd name="T5" fmla="*/ 42 h 392"/>
                <a:gd name="T6" fmla="*/ 118 w 390"/>
                <a:gd name="T7" fmla="*/ 42 h 392"/>
                <a:gd name="T8" fmla="*/ 42 w 390"/>
                <a:gd name="T9" fmla="*/ 272 h 392"/>
                <a:gd name="T10" fmla="*/ 42 w 390"/>
                <a:gd name="T11" fmla="*/ 272 h 392"/>
                <a:gd name="T12" fmla="*/ 271 w 390"/>
                <a:gd name="T13" fmla="*/ 348 h 392"/>
                <a:gd name="T14" fmla="*/ 271 w 390"/>
                <a:gd name="T15" fmla="*/ 348 h 392"/>
                <a:gd name="T16" fmla="*/ 347 w 390"/>
                <a:gd name="T17" fmla="*/ 119 h 3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90" h="392">
                  <a:moveTo>
                    <a:pt x="347" y="119"/>
                  </a:moveTo>
                  <a:lnTo>
                    <a:pt x="347" y="119"/>
                  </a:lnTo>
                  <a:cubicBezTo>
                    <a:pt x="305" y="35"/>
                    <a:pt x="203" y="0"/>
                    <a:pt x="118" y="42"/>
                  </a:cubicBezTo>
                  <a:lnTo>
                    <a:pt x="118" y="42"/>
                  </a:lnTo>
                  <a:cubicBezTo>
                    <a:pt x="34" y="84"/>
                    <a:pt x="0" y="187"/>
                    <a:pt x="42" y="272"/>
                  </a:cubicBezTo>
                  <a:lnTo>
                    <a:pt x="42" y="272"/>
                  </a:lnTo>
                  <a:cubicBezTo>
                    <a:pt x="84" y="356"/>
                    <a:pt x="186" y="391"/>
                    <a:pt x="271" y="348"/>
                  </a:cubicBezTo>
                  <a:lnTo>
                    <a:pt x="271" y="348"/>
                  </a:lnTo>
                  <a:cubicBezTo>
                    <a:pt x="356" y="306"/>
                    <a:pt x="389" y="203"/>
                    <a:pt x="347" y="119"/>
                  </a:cubicBezTo>
                </a:path>
              </a:pathLst>
            </a:custGeom>
            <a:solidFill>
              <a:schemeClr val="accent2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s-ES_tradnl"/>
            </a:p>
          </p:txBody>
        </p:sp>
        <p:sp>
          <p:nvSpPr>
            <p:cNvPr id="28" name="Freeform 43">
              <a:extLst>
                <a:ext uri="{FF2B5EF4-FFF2-40B4-BE49-F238E27FC236}">
                  <a16:creationId xmlns:a16="http://schemas.microsoft.com/office/drawing/2014/main" xmlns="" id="{0A6E8A97-AC91-164F-BDD0-22E7079CA671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11369540">
              <a:off x="-2422178" y="5388390"/>
              <a:ext cx="5139894" cy="2695531"/>
            </a:xfrm>
            <a:custGeom>
              <a:avLst/>
              <a:gdLst>
                <a:gd name="T0" fmla="*/ 43 w 7042"/>
                <a:gd name="T1" fmla="*/ 3598 h 3717"/>
                <a:gd name="T2" fmla="*/ 43 w 7042"/>
                <a:gd name="T3" fmla="*/ 3598 h 3717"/>
                <a:gd name="T4" fmla="*/ 271 w 7042"/>
                <a:gd name="T5" fmla="*/ 3674 h 3717"/>
                <a:gd name="T6" fmla="*/ 6923 w 7042"/>
                <a:gd name="T7" fmla="*/ 348 h 3717"/>
                <a:gd name="T8" fmla="*/ 6923 w 7042"/>
                <a:gd name="T9" fmla="*/ 348 h 3717"/>
                <a:gd name="T10" fmla="*/ 6999 w 7042"/>
                <a:gd name="T11" fmla="*/ 119 h 3717"/>
                <a:gd name="T12" fmla="*/ 6999 w 7042"/>
                <a:gd name="T13" fmla="*/ 119 h 3717"/>
                <a:gd name="T14" fmla="*/ 6770 w 7042"/>
                <a:gd name="T15" fmla="*/ 43 h 3717"/>
                <a:gd name="T16" fmla="*/ 119 w 7042"/>
                <a:gd name="T17" fmla="*/ 3369 h 3717"/>
                <a:gd name="T18" fmla="*/ 119 w 7042"/>
                <a:gd name="T19" fmla="*/ 3369 h 3717"/>
                <a:gd name="T20" fmla="*/ 43 w 7042"/>
                <a:gd name="T21" fmla="*/ 3598 h 37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042" h="3717">
                  <a:moveTo>
                    <a:pt x="43" y="3598"/>
                  </a:moveTo>
                  <a:lnTo>
                    <a:pt x="43" y="3598"/>
                  </a:lnTo>
                  <a:cubicBezTo>
                    <a:pt x="85" y="3682"/>
                    <a:pt x="187" y="3716"/>
                    <a:pt x="271" y="3674"/>
                  </a:cubicBezTo>
                  <a:lnTo>
                    <a:pt x="6923" y="348"/>
                  </a:lnTo>
                  <a:lnTo>
                    <a:pt x="6923" y="348"/>
                  </a:lnTo>
                  <a:cubicBezTo>
                    <a:pt x="7007" y="306"/>
                    <a:pt x="7041" y="203"/>
                    <a:pt x="6999" y="119"/>
                  </a:cubicBezTo>
                  <a:lnTo>
                    <a:pt x="6999" y="119"/>
                  </a:lnTo>
                  <a:cubicBezTo>
                    <a:pt x="6957" y="34"/>
                    <a:pt x="6854" y="0"/>
                    <a:pt x="6770" y="43"/>
                  </a:cubicBezTo>
                  <a:lnTo>
                    <a:pt x="119" y="3369"/>
                  </a:lnTo>
                  <a:lnTo>
                    <a:pt x="119" y="3369"/>
                  </a:lnTo>
                  <a:cubicBezTo>
                    <a:pt x="34" y="3411"/>
                    <a:pt x="0" y="3513"/>
                    <a:pt x="43" y="3598"/>
                  </a:cubicBezTo>
                </a:path>
              </a:pathLst>
            </a:custGeom>
            <a:solidFill>
              <a:srgbClr val="002B6A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s-ES_tradnl"/>
            </a:p>
          </p:txBody>
        </p:sp>
        <p:sp>
          <p:nvSpPr>
            <p:cNvPr id="29" name="Freeform 44">
              <a:extLst>
                <a:ext uri="{FF2B5EF4-FFF2-40B4-BE49-F238E27FC236}">
                  <a16:creationId xmlns:a16="http://schemas.microsoft.com/office/drawing/2014/main" xmlns="" id="{BC627C2E-F04D-BC44-9059-B6E8EE4226AA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11369540">
              <a:off x="79403" y="6016859"/>
              <a:ext cx="5899452" cy="3076040"/>
            </a:xfrm>
            <a:custGeom>
              <a:avLst/>
              <a:gdLst>
                <a:gd name="T0" fmla="*/ 8042 w 8085"/>
                <a:gd name="T1" fmla="*/ 119 h 4240"/>
                <a:gd name="T2" fmla="*/ 8042 w 8085"/>
                <a:gd name="T3" fmla="*/ 119 h 4240"/>
                <a:gd name="T4" fmla="*/ 7813 w 8085"/>
                <a:gd name="T5" fmla="*/ 43 h 4240"/>
                <a:gd name="T6" fmla="*/ 118 w 8085"/>
                <a:gd name="T7" fmla="*/ 3891 h 4240"/>
                <a:gd name="T8" fmla="*/ 118 w 8085"/>
                <a:gd name="T9" fmla="*/ 3891 h 4240"/>
                <a:gd name="T10" fmla="*/ 42 w 8085"/>
                <a:gd name="T11" fmla="*/ 4121 h 4240"/>
                <a:gd name="T12" fmla="*/ 42 w 8085"/>
                <a:gd name="T13" fmla="*/ 4121 h 4240"/>
                <a:gd name="T14" fmla="*/ 271 w 8085"/>
                <a:gd name="T15" fmla="*/ 4197 h 4240"/>
                <a:gd name="T16" fmla="*/ 7966 w 8085"/>
                <a:gd name="T17" fmla="*/ 348 h 4240"/>
                <a:gd name="T18" fmla="*/ 7966 w 8085"/>
                <a:gd name="T19" fmla="*/ 348 h 4240"/>
                <a:gd name="T20" fmla="*/ 8042 w 8085"/>
                <a:gd name="T21" fmla="*/ 119 h 42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085" h="4240">
                  <a:moveTo>
                    <a:pt x="8042" y="119"/>
                  </a:moveTo>
                  <a:lnTo>
                    <a:pt x="8042" y="119"/>
                  </a:lnTo>
                  <a:cubicBezTo>
                    <a:pt x="7999" y="35"/>
                    <a:pt x="7897" y="0"/>
                    <a:pt x="7813" y="43"/>
                  </a:cubicBezTo>
                  <a:lnTo>
                    <a:pt x="118" y="3891"/>
                  </a:lnTo>
                  <a:lnTo>
                    <a:pt x="118" y="3891"/>
                  </a:lnTo>
                  <a:cubicBezTo>
                    <a:pt x="34" y="3933"/>
                    <a:pt x="0" y="4036"/>
                    <a:pt x="42" y="4121"/>
                  </a:cubicBezTo>
                  <a:lnTo>
                    <a:pt x="42" y="4121"/>
                  </a:lnTo>
                  <a:cubicBezTo>
                    <a:pt x="84" y="4204"/>
                    <a:pt x="187" y="4239"/>
                    <a:pt x="271" y="4197"/>
                  </a:cubicBezTo>
                  <a:lnTo>
                    <a:pt x="7966" y="348"/>
                  </a:lnTo>
                  <a:lnTo>
                    <a:pt x="7966" y="348"/>
                  </a:lnTo>
                  <a:cubicBezTo>
                    <a:pt x="8050" y="306"/>
                    <a:pt x="8084" y="204"/>
                    <a:pt x="8042" y="119"/>
                  </a:cubicBezTo>
                </a:path>
              </a:pathLst>
            </a:custGeom>
            <a:solidFill>
              <a:schemeClr val="accent3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s-ES_tradnl"/>
            </a:p>
          </p:txBody>
        </p:sp>
        <p:sp>
          <p:nvSpPr>
            <p:cNvPr id="30" name="Freeform 45">
              <a:extLst>
                <a:ext uri="{FF2B5EF4-FFF2-40B4-BE49-F238E27FC236}">
                  <a16:creationId xmlns:a16="http://schemas.microsoft.com/office/drawing/2014/main" xmlns="" id="{5D053E5A-4181-274D-9162-DC847CC14C95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11369540">
              <a:off x="-1874015" y="8332012"/>
              <a:ext cx="1618891" cy="946474"/>
            </a:xfrm>
            <a:custGeom>
              <a:avLst/>
              <a:gdLst>
                <a:gd name="T0" fmla="*/ 2174 w 2217"/>
                <a:gd name="T1" fmla="*/ 119 h 1304"/>
                <a:gd name="T2" fmla="*/ 2174 w 2217"/>
                <a:gd name="T3" fmla="*/ 119 h 1304"/>
                <a:gd name="T4" fmla="*/ 1944 w 2217"/>
                <a:gd name="T5" fmla="*/ 42 h 1304"/>
                <a:gd name="T6" fmla="*/ 119 w 2217"/>
                <a:gd name="T7" fmla="*/ 956 h 1304"/>
                <a:gd name="T8" fmla="*/ 119 w 2217"/>
                <a:gd name="T9" fmla="*/ 956 h 1304"/>
                <a:gd name="T10" fmla="*/ 42 w 2217"/>
                <a:gd name="T11" fmla="*/ 1185 h 1304"/>
                <a:gd name="T12" fmla="*/ 42 w 2217"/>
                <a:gd name="T13" fmla="*/ 1185 h 1304"/>
                <a:gd name="T14" fmla="*/ 271 w 2217"/>
                <a:gd name="T15" fmla="*/ 1262 h 1304"/>
                <a:gd name="T16" fmla="*/ 2098 w 2217"/>
                <a:gd name="T17" fmla="*/ 348 h 1304"/>
                <a:gd name="T18" fmla="*/ 2098 w 2217"/>
                <a:gd name="T19" fmla="*/ 348 h 1304"/>
                <a:gd name="T20" fmla="*/ 2174 w 2217"/>
                <a:gd name="T21" fmla="*/ 119 h 13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217" h="1304">
                  <a:moveTo>
                    <a:pt x="2174" y="119"/>
                  </a:moveTo>
                  <a:lnTo>
                    <a:pt x="2174" y="119"/>
                  </a:lnTo>
                  <a:cubicBezTo>
                    <a:pt x="2132" y="34"/>
                    <a:pt x="2029" y="0"/>
                    <a:pt x="1944" y="42"/>
                  </a:cubicBezTo>
                  <a:lnTo>
                    <a:pt x="119" y="956"/>
                  </a:lnTo>
                  <a:lnTo>
                    <a:pt x="119" y="956"/>
                  </a:lnTo>
                  <a:cubicBezTo>
                    <a:pt x="34" y="998"/>
                    <a:pt x="0" y="1101"/>
                    <a:pt x="42" y="1185"/>
                  </a:cubicBezTo>
                  <a:lnTo>
                    <a:pt x="42" y="1185"/>
                  </a:lnTo>
                  <a:cubicBezTo>
                    <a:pt x="84" y="1269"/>
                    <a:pt x="187" y="1303"/>
                    <a:pt x="271" y="1262"/>
                  </a:cubicBezTo>
                  <a:lnTo>
                    <a:pt x="2098" y="348"/>
                  </a:lnTo>
                  <a:lnTo>
                    <a:pt x="2098" y="348"/>
                  </a:lnTo>
                  <a:cubicBezTo>
                    <a:pt x="2182" y="306"/>
                    <a:pt x="2216" y="203"/>
                    <a:pt x="2174" y="119"/>
                  </a:cubicBezTo>
                </a:path>
              </a:pathLst>
            </a:custGeom>
            <a:solidFill>
              <a:schemeClr val="accent3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s-ES_tradnl"/>
            </a:p>
          </p:txBody>
        </p:sp>
        <p:sp>
          <p:nvSpPr>
            <p:cNvPr id="31" name="Freeform 46">
              <a:extLst>
                <a:ext uri="{FF2B5EF4-FFF2-40B4-BE49-F238E27FC236}">
                  <a16:creationId xmlns:a16="http://schemas.microsoft.com/office/drawing/2014/main" xmlns="" id="{3FFCBEE2-9822-A54C-86E9-1FFEA97A52E0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11369540">
              <a:off x="-736290" y="6695649"/>
              <a:ext cx="5902672" cy="3072844"/>
            </a:xfrm>
            <a:custGeom>
              <a:avLst/>
              <a:gdLst>
                <a:gd name="T0" fmla="*/ 42 w 8086"/>
                <a:gd name="T1" fmla="*/ 4119 h 4239"/>
                <a:gd name="T2" fmla="*/ 42 w 8086"/>
                <a:gd name="T3" fmla="*/ 4119 h 4239"/>
                <a:gd name="T4" fmla="*/ 271 w 8086"/>
                <a:gd name="T5" fmla="*/ 4196 h 4239"/>
                <a:gd name="T6" fmla="*/ 7966 w 8086"/>
                <a:gd name="T7" fmla="*/ 348 h 4239"/>
                <a:gd name="T8" fmla="*/ 7966 w 8086"/>
                <a:gd name="T9" fmla="*/ 348 h 4239"/>
                <a:gd name="T10" fmla="*/ 8042 w 8086"/>
                <a:gd name="T11" fmla="*/ 119 h 4239"/>
                <a:gd name="T12" fmla="*/ 8042 w 8086"/>
                <a:gd name="T13" fmla="*/ 119 h 4239"/>
                <a:gd name="T14" fmla="*/ 7813 w 8086"/>
                <a:gd name="T15" fmla="*/ 42 h 4239"/>
                <a:gd name="T16" fmla="*/ 119 w 8086"/>
                <a:gd name="T17" fmla="*/ 3891 h 4239"/>
                <a:gd name="T18" fmla="*/ 119 w 8086"/>
                <a:gd name="T19" fmla="*/ 3891 h 4239"/>
                <a:gd name="T20" fmla="*/ 42 w 8086"/>
                <a:gd name="T21" fmla="*/ 4119 h 4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086" h="4239">
                  <a:moveTo>
                    <a:pt x="42" y="4119"/>
                  </a:moveTo>
                  <a:lnTo>
                    <a:pt x="42" y="4119"/>
                  </a:lnTo>
                  <a:cubicBezTo>
                    <a:pt x="85" y="4204"/>
                    <a:pt x="187" y="4238"/>
                    <a:pt x="271" y="4196"/>
                  </a:cubicBezTo>
                  <a:lnTo>
                    <a:pt x="7966" y="348"/>
                  </a:lnTo>
                  <a:lnTo>
                    <a:pt x="7966" y="348"/>
                  </a:lnTo>
                  <a:cubicBezTo>
                    <a:pt x="8050" y="305"/>
                    <a:pt x="8085" y="203"/>
                    <a:pt x="8042" y="119"/>
                  </a:cubicBezTo>
                  <a:lnTo>
                    <a:pt x="8042" y="119"/>
                  </a:lnTo>
                  <a:cubicBezTo>
                    <a:pt x="8000" y="34"/>
                    <a:pt x="7898" y="0"/>
                    <a:pt x="7813" y="42"/>
                  </a:cubicBezTo>
                  <a:lnTo>
                    <a:pt x="119" y="3891"/>
                  </a:lnTo>
                  <a:lnTo>
                    <a:pt x="119" y="3891"/>
                  </a:lnTo>
                  <a:cubicBezTo>
                    <a:pt x="34" y="3933"/>
                    <a:pt x="0" y="4035"/>
                    <a:pt x="42" y="4119"/>
                  </a:cubicBezTo>
                </a:path>
              </a:pathLst>
            </a:custGeom>
            <a:solidFill>
              <a:schemeClr val="accent5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s-ES_tradnl"/>
            </a:p>
          </p:txBody>
        </p:sp>
        <p:sp>
          <p:nvSpPr>
            <p:cNvPr id="32" name="Freeform 47">
              <a:extLst>
                <a:ext uri="{FF2B5EF4-FFF2-40B4-BE49-F238E27FC236}">
                  <a16:creationId xmlns:a16="http://schemas.microsoft.com/office/drawing/2014/main" xmlns="" id="{3C4212A5-F0D0-1844-A3B4-0389EFF64D74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11369540">
              <a:off x="5450840" y="6868223"/>
              <a:ext cx="753122" cy="518002"/>
            </a:xfrm>
            <a:custGeom>
              <a:avLst/>
              <a:gdLst>
                <a:gd name="T0" fmla="*/ 42 w 1033"/>
                <a:gd name="T1" fmla="*/ 593 h 713"/>
                <a:gd name="T2" fmla="*/ 42 w 1033"/>
                <a:gd name="T3" fmla="*/ 593 h 713"/>
                <a:gd name="T4" fmla="*/ 272 w 1033"/>
                <a:gd name="T5" fmla="*/ 669 h 713"/>
                <a:gd name="T6" fmla="*/ 913 w 1033"/>
                <a:gd name="T7" fmla="*/ 349 h 713"/>
                <a:gd name="T8" fmla="*/ 913 w 1033"/>
                <a:gd name="T9" fmla="*/ 349 h 713"/>
                <a:gd name="T10" fmla="*/ 989 w 1033"/>
                <a:gd name="T11" fmla="*/ 120 h 713"/>
                <a:gd name="T12" fmla="*/ 989 w 1033"/>
                <a:gd name="T13" fmla="*/ 120 h 713"/>
                <a:gd name="T14" fmla="*/ 760 w 1033"/>
                <a:gd name="T15" fmla="*/ 43 h 713"/>
                <a:gd name="T16" fmla="*/ 119 w 1033"/>
                <a:gd name="T17" fmla="*/ 363 h 713"/>
                <a:gd name="T18" fmla="*/ 119 w 1033"/>
                <a:gd name="T19" fmla="*/ 363 h 713"/>
                <a:gd name="T20" fmla="*/ 42 w 1033"/>
                <a:gd name="T21" fmla="*/ 593 h 7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033" h="713">
                  <a:moveTo>
                    <a:pt x="42" y="593"/>
                  </a:moveTo>
                  <a:lnTo>
                    <a:pt x="42" y="593"/>
                  </a:lnTo>
                  <a:cubicBezTo>
                    <a:pt x="84" y="678"/>
                    <a:pt x="187" y="712"/>
                    <a:pt x="272" y="669"/>
                  </a:cubicBezTo>
                  <a:lnTo>
                    <a:pt x="913" y="349"/>
                  </a:lnTo>
                  <a:lnTo>
                    <a:pt x="913" y="349"/>
                  </a:lnTo>
                  <a:cubicBezTo>
                    <a:pt x="997" y="306"/>
                    <a:pt x="1032" y="204"/>
                    <a:pt x="989" y="120"/>
                  </a:cubicBezTo>
                  <a:lnTo>
                    <a:pt x="989" y="120"/>
                  </a:lnTo>
                  <a:cubicBezTo>
                    <a:pt x="947" y="35"/>
                    <a:pt x="844" y="0"/>
                    <a:pt x="760" y="43"/>
                  </a:cubicBezTo>
                  <a:lnTo>
                    <a:pt x="119" y="363"/>
                  </a:lnTo>
                  <a:lnTo>
                    <a:pt x="119" y="363"/>
                  </a:lnTo>
                  <a:cubicBezTo>
                    <a:pt x="34" y="406"/>
                    <a:pt x="0" y="508"/>
                    <a:pt x="42" y="593"/>
                  </a:cubicBezTo>
                </a:path>
              </a:pathLst>
            </a:custGeom>
            <a:solidFill>
              <a:schemeClr val="accent5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s-ES_tradnl"/>
            </a:p>
          </p:txBody>
        </p:sp>
        <p:sp>
          <p:nvSpPr>
            <p:cNvPr id="33" name="Freeform 48">
              <a:extLst>
                <a:ext uri="{FF2B5EF4-FFF2-40B4-BE49-F238E27FC236}">
                  <a16:creationId xmlns:a16="http://schemas.microsoft.com/office/drawing/2014/main" xmlns="" id="{53BE6F74-1A8B-1647-B3DE-683710C6CFA9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11369540">
              <a:off x="-1269817" y="9108201"/>
              <a:ext cx="286442" cy="284581"/>
            </a:xfrm>
            <a:custGeom>
              <a:avLst/>
              <a:gdLst>
                <a:gd name="T0" fmla="*/ 42 w 391"/>
                <a:gd name="T1" fmla="*/ 272 h 392"/>
                <a:gd name="T2" fmla="*/ 42 w 391"/>
                <a:gd name="T3" fmla="*/ 272 h 392"/>
                <a:gd name="T4" fmla="*/ 272 w 391"/>
                <a:gd name="T5" fmla="*/ 349 h 392"/>
                <a:gd name="T6" fmla="*/ 272 w 391"/>
                <a:gd name="T7" fmla="*/ 349 h 392"/>
                <a:gd name="T8" fmla="*/ 348 w 391"/>
                <a:gd name="T9" fmla="*/ 119 h 392"/>
                <a:gd name="T10" fmla="*/ 348 w 391"/>
                <a:gd name="T11" fmla="*/ 119 h 392"/>
                <a:gd name="T12" fmla="*/ 118 w 391"/>
                <a:gd name="T13" fmla="*/ 43 h 392"/>
                <a:gd name="T14" fmla="*/ 118 w 391"/>
                <a:gd name="T15" fmla="*/ 43 h 392"/>
                <a:gd name="T16" fmla="*/ 42 w 391"/>
                <a:gd name="T17" fmla="*/ 272 h 3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91" h="392">
                  <a:moveTo>
                    <a:pt x="42" y="272"/>
                  </a:moveTo>
                  <a:lnTo>
                    <a:pt x="42" y="272"/>
                  </a:lnTo>
                  <a:cubicBezTo>
                    <a:pt x="84" y="357"/>
                    <a:pt x="187" y="391"/>
                    <a:pt x="272" y="349"/>
                  </a:cubicBezTo>
                  <a:lnTo>
                    <a:pt x="272" y="349"/>
                  </a:lnTo>
                  <a:cubicBezTo>
                    <a:pt x="356" y="306"/>
                    <a:pt x="390" y="203"/>
                    <a:pt x="348" y="119"/>
                  </a:cubicBezTo>
                  <a:lnTo>
                    <a:pt x="348" y="119"/>
                  </a:lnTo>
                  <a:cubicBezTo>
                    <a:pt x="306" y="35"/>
                    <a:pt x="203" y="0"/>
                    <a:pt x="118" y="43"/>
                  </a:cubicBezTo>
                  <a:lnTo>
                    <a:pt x="118" y="43"/>
                  </a:lnTo>
                  <a:cubicBezTo>
                    <a:pt x="34" y="85"/>
                    <a:pt x="0" y="188"/>
                    <a:pt x="42" y="272"/>
                  </a:cubicBezTo>
                </a:path>
              </a:pathLst>
            </a:custGeom>
            <a:solidFill>
              <a:schemeClr val="accent5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s-ES_tradnl"/>
            </a:p>
          </p:txBody>
        </p:sp>
        <p:sp>
          <p:nvSpPr>
            <p:cNvPr id="34" name="Freeform 49">
              <a:extLst>
                <a:ext uri="{FF2B5EF4-FFF2-40B4-BE49-F238E27FC236}">
                  <a16:creationId xmlns:a16="http://schemas.microsoft.com/office/drawing/2014/main" xmlns="" id="{48CC0194-0522-9C4D-9BA7-8E494E9BA261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11369540">
              <a:off x="-517326" y="5651286"/>
              <a:ext cx="5139894" cy="2695531"/>
            </a:xfrm>
            <a:custGeom>
              <a:avLst/>
              <a:gdLst>
                <a:gd name="T0" fmla="*/ 42 w 7042"/>
                <a:gd name="T1" fmla="*/ 3597 h 3717"/>
                <a:gd name="T2" fmla="*/ 42 w 7042"/>
                <a:gd name="T3" fmla="*/ 3597 h 3717"/>
                <a:gd name="T4" fmla="*/ 272 w 7042"/>
                <a:gd name="T5" fmla="*/ 3674 h 3717"/>
                <a:gd name="T6" fmla="*/ 6922 w 7042"/>
                <a:gd name="T7" fmla="*/ 348 h 3717"/>
                <a:gd name="T8" fmla="*/ 6922 w 7042"/>
                <a:gd name="T9" fmla="*/ 348 h 3717"/>
                <a:gd name="T10" fmla="*/ 6998 w 7042"/>
                <a:gd name="T11" fmla="*/ 118 h 3717"/>
                <a:gd name="T12" fmla="*/ 6998 w 7042"/>
                <a:gd name="T13" fmla="*/ 118 h 3717"/>
                <a:gd name="T14" fmla="*/ 6770 w 7042"/>
                <a:gd name="T15" fmla="*/ 42 h 3717"/>
                <a:gd name="T16" fmla="*/ 119 w 7042"/>
                <a:gd name="T17" fmla="*/ 3368 h 3717"/>
                <a:gd name="T18" fmla="*/ 119 w 7042"/>
                <a:gd name="T19" fmla="*/ 3368 h 3717"/>
                <a:gd name="T20" fmla="*/ 42 w 7042"/>
                <a:gd name="T21" fmla="*/ 3597 h 37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042" h="3717">
                  <a:moveTo>
                    <a:pt x="42" y="3597"/>
                  </a:moveTo>
                  <a:lnTo>
                    <a:pt x="42" y="3597"/>
                  </a:lnTo>
                  <a:cubicBezTo>
                    <a:pt x="84" y="3682"/>
                    <a:pt x="187" y="3716"/>
                    <a:pt x="272" y="3674"/>
                  </a:cubicBezTo>
                  <a:lnTo>
                    <a:pt x="6922" y="348"/>
                  </a:lnTo>
                  <a:lnTo>
                    <a:pt x="6922" y="348"/>
                  </a:lnTo>
                  <a:cubicBezTo>
                    <a:pt x="7007" y="305"/>
                    <a:pt x="7041" y="203"/>
                    <a:pt x="6998" y="118"/>
                  </a:cubicBezTo>
                  <a:lnTo>
                    <a:pt x="6998" y="118"/>
                  </a:lnTo>
                  <a:cubicBezTo>
                    <a:pt x="6957" y="33"/>
                    <a:pt x="6854" y="0"/>
                    <a:pt x="6770" y="42"/>
                  </a:cubicBezTo>
                  <a:lnTo>
                    <a:pt x="119" y="3368"/>
                  </a:lnTo>
                  <a:lnTo>
                    <a:pt x="119" y="3368"/>
                  </a:lnTo>
                  <a:cubicBezTo>
                    <a:pt x="34" y="3410"/>
                    <a:pt x="0" y="3513"/>
                    <a:pt x="42" y="3597"/>
                  </a:cubicBezTo>
                </a:path>
              </a:pathLst>
            </a:custGeom>
            <a:solidFill>
              <a:schemeClr val="accent4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s-ES_tradnl"/>
            </a:p>
          </p:txBody>
        </p:sp>
        <p:sp>
          <p:nvSpPr>
            <p:cNvPr id="35" name="Freeform 50">
              <a:extLst>
                <a:ext uri="{FF2B5EF4-FFF2-40B4-BE49-F238E27FC236}">
                  <a16:creationId xmlns:a16="http://schemas.microsoft.com/office/drawing/2014/main" xmlns="" id="{BB5AC2AA-DB50-CB4C-93A8-E15FCF252CEA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11369540">
              <a:off x="4878885" y="5818248"/>
              <a:ext cx="617946" cy="450853"/>
            </a:xfrm>
            <a:custGeom>
              <a:avLst/>
              <a:gdLst>
                <a:gd name="T0" fmla="*/ 42 w 848"/>
                <a:gd name="T1" fmla="*/ 501 h 620"/>
                <a:gd name="T2" fmla="*/ 42 w 848"/>
                <a:gd name="T3" fmla="*/ 501 h 620"/>
                <a:gd name="T4" fmla="*/ 271 w 848"/>
                <a:gd name="T5" fmla="*/ 577 h 620"/>
                <a:gd name="T6" fmla="*/ 728 w 848"/>
                <a:gd name="T7" fmla="*/ 348 h 620"/>
                <a:gd name="T8" fmla="*/ 728 w 848"/>
                <a:gd name="T9" fmla="*/ 348 h 620"/>
                <a:gd name="T10" fmla="*/ 805 w 848"/>
                <a:gd name="T11" fmla="*/ 119 h 620"/>
                <a:gd name="T12" fmla="*/ 805 w 848"/>
                <a:gd name="T13" fmla="*/ 119 h 620"/>
                <a:gd name="T14" fmla="*/ 576 w 848"/>
                <a:gd name="T15" fmla="*/ 43 h 620"/>
                <a:gd name="T16" fmla="*/ 119 w 848"/>
                <a:gd name="T17" fmla="*/ 272 h 620"/>
                <a:gd name="T18" fmla="*/ 119 w 848"/>
                <a:gd name="T19" fmla="*/ 272 h 620"/>
                <a:gd name="T20" fmla="*/ 42 w 848"/>
                <a:gd name="T21" fmla="*/ 501 h 6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48" h="620">
                  <a:moveTo>
                    <a:pt x="42" y="501"/>
                  </a:moveTo>
                  <a:lnTo>
                    <a:pt x="42" y="501"/>
                  </a:lnTo>
                  <a:cubicBezTo>
                    <a:pt x="84" y="585"/>
                    <a:pt x="186" y="619"/>
                    <a:pt x="271" y="577"/>
                  </a:cubicBezTo>
                  <a:lnTo>
                    <a:pt x="728" y="348"/>
                  </a:lnTo>
                  <a:lnTo>
                    <a:pt x="728" y="348"/>
                  </a:lnTo>
                  <a:cubicBezTo>
                    <a:pt x="813" y="306"/>
                    <a:pt x="847" y="204"/>
                    <a:pt x="805" y="119"/>
                  </a:cubicBezTo>
                  <a:lnTo>
                    <a:pt x="805" y="119"/>
                  </a:lnTo>
                  <a:cubicBezTo>
                    <a:pt x="762" y="34"/>
                    <a:pt x="660" y="0"/>
                    <a:pt x="576" y="43"/>
                  </a:cubicBezTo>
                  <a:lnTo>
                    <a:pt x="119" y="272"/>
                  </a:lnTo>
                  <a:lnTo>
                    <a:pt x="119" y="272"/>
                  </a:lnTo>
                  <a:cubicBezTo>
                    <a:pt x="34" y="313"/>
                    <a:pt x="0" y="416"/>
                    <a:pt x="42" y="501"/>
                  </a:cubicBezTo>
                </a:path>
              </a:pathLst>
            </a:custGeom>
            <a:solidFill>
              <a:schemeClr val="accent4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s-ES_tradnl"/>
            </a:p>
          </p:txBody>
        </p:sp>
        <p:sp>
          <p:nvSpPr>
            <p:cNvPr id="36" name="Freeform 51">
              <a:extLst>
                <a:ext uri="{FF2B5EF4-FFF2-40B4-BE49-F238E27FC236}">
                  <a16:creationId xmlns:a16="http://schemas.microsoft.com/office/drawing/2014/main" xmlns="" id="{D754E386-5447-B34F-A2A3-0C35AAE4B8B8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11369540">
              <a:off x="6324691" y="6684569"/>
              <a:ext cx="553576" cy="415681"/>
            </a:xfrm>
            <a:custGeom>
              <a:avLst/>
              <a:gdLst>
                <a:gd name="T0" fmla="*/ 42 w 757"/>
                <a:gd name="T1" fmla="*/ 455 h 575"/>
                <a:gd name="T2" fmla="*/ 42 w 757"/>
                <a:gd name="T3" fmla="*/ 455 h 575"/>
                <a:gd name="T4" fmla="*/ 272 w 757"/>
                <a:gd name="T5" fmla="*/ 531 h 575"/>
                <a:gd name="T6" fmla="*/ 637 w 757"/>
                <a:gd name="T7" fmla="*/ 349 h 575"/>
                <a:gd name="T8" fmla="*/ 637 w 757"/>
                <a:gd name="T9" fmla="*/ 349 h 575"/>
                <a:gd name="T10" fmla="*/ 714 w 757"/>
                <a:gd name="T11" fmla="*/ 119 h 575"/>
                <a:gd name="T12" fmla="*/ 714 w 757"/>
                <a:gd name="T13" fmla="*/ 119 h 575"/>
                <a:gd name="T14" fmla="*/ 485 w 757"/>
                <a:gd name="T15" fmla="*/ 43 h 575"/>
                <a:gd name="T16" fmla="*/ 118 w 757"/>
                <a:gd name="T17" fmla="*/ 226 h 575"/>
                <a:gd name="T18" fmla="*/ 118 w 757"/>
                <a:gd name="T19" fmla="*/ 226 h 575"/>
                <a:gd name="T20" fmla="*/ 42 w 757"/>
                <a:gd name="T21" fmla="*/ 455 h 5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57" h="575">
                  <a:moveTo>
                    <a:pt x="42" y="455"/>
                  </a:moveTo>
                  <a:lnTo>
                    <a:pt x="42" y="455"/>
                  </a:lnTo>
                  <a:cubicBezTo>
                    <a:pt x="84" y="540"/>
                    <a:pt x="187" y="574"/>
                    <a:pt x="272" y="531"/>
                  </a:cubicBezTo>
                  <a:lnTo>
                    <a:pt x="637" y="349"/>
                  </a:lnTo>
                  <a:lnTo>
                    <a:pt x="637" y="349"/>
                  </a:lnTo>
                  <a:cubicBezTo>
                    <a:pt x="722" y="306"/>
                    <a:pt x="756" y="204"/>
                    <a:pt x="714" y="119"/>
                  </a:cubicBezTo>
                  <a:lnTo>
                    <a:pt x="714" y="119"/>
                  </a:lnTo>
                  <a:cubicBezTo>
                    <a:pt x="671" y="35"/>
                    <a:pt x="569" y="0"/>
                    <a:pt x="485" y="43"/>
                  </a:cubicBezTo>
                  <a:lnTo>
                    <a:pt x="118" y="226"/>
                  </a:lnTo>
                  <a:lnTo>
                    <a:pt x="118" y="226"/>
                  </a:lnTo>
                  <a:cubicBezTo>
                    <a:pt x="34" y="268"/>
                    <a:pt x="0" y="370"/>
                    <a:pt x="42" y="455"/>
                  </a:cubicBezTo>
                </a:path>
              </a:pathLst>
            </a:custGeom>
            <a:solidFill>
              <a:schemeClr val="accent5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s-ES_tradnl"/>
            </a:p>
          </p:txBody>
        </p:sp>
        <p:sp>
          <p:nvSpPr>
            <p:cNvPr id="37" name="Freeform 52">
              <a:extLst>
                <a:ext uri="{FF2B5EF4-FFF2-40B4-BE49-F238E27FC236}">
                  <a16:creationId xmlns:a16="http://schemas.microsoft.com/office/drawing/2014/main" xmlns="" id="{05DFB958-C769-924C-93E3-BF0F257CCA1D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11369540">
              <a:off x="-637625" y="5261733"/>
              <a:ext cx="5139895" cy="2695531"/>
            </a:xfrm>
            <a:custGeom>
              <a:avLst/>
              <a:gdLst>
                <a:gd name="T0" fmla="*/ 41 w 7042"/>
                <a:gd name="T1" fmla="*/ 3598 h 3718"/>
                <a:gd name="T2" fmla="*/ 41 w 7042"/>
                <a:gd name="T3" fmla="*/ 3598 h 3718"/>
                <a:gd name="T4" fmla="*/ 271 w 7042"/>
                <a:gd name="T5" fmla="*/ 3674 h 3718"/>
                <a:gd name="T6" fmla="*/ 6922 w 7042"/>
                <a:gd name="T7" fmla="*/ 349 h 3718"/>
                <a:gd name="T8" fmla="*/ 6922 w 7042"/>
                <a:gd name="T9" fmla="*/ 349 h 3718"/>
                <a:gd name="T10" fmla="*/ 6998 w 7042"/>
                <a:gd name="T11" fmla="*/ 119 h 3718"/>
                <a:gd name="T12" fmla="*/ 6998 w 7042"/>
                <a:gd name="T13" fmla="*/ 119 h 3718"/>
                <a:gd name="T14" fmla="*/ 6769 w 7042"/>
                <a:gd name="T15" fmla="*/ 43 h 3718"/>
                <a:gd name="T16" fmla="*/ 118 w 7042"/>
                <a:gd name="T17" fmla="*/ 3369 h 3718"/>
                <a:gd name="T18" fmla="*/ 118 w 7042"/>
                <a:gd name="T19" fmla="*/ 3369 h 3718"/>
                <a:gd name="T20" fmla="*/ 41 w 7042"/>
                <a:gd name="T21" fmla="*/ 3598 h 37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042" h="3718">
                  <a:moveTo>
                    <a:pt x="41" y="3598"/>
                  </a:moveTo>
                  <a:lnTo>
                    <a:pt x="41" y="3598"/>
                  </a:lnTo>
                  <a:cubicBezTo>
                    <a:pt x="83" y="3683"/>
                    <a:pt x="186" y="3717"/>
                    <a:pt x="271" y="3674"/>
                  </a:cubicBezTo>
                  <a:lnTo>
                    <a:pt x="6922" y="349"/>
                  </a:lnTo>
                  <a:lnTo>
                    <a:pt x="6922" y="349"/>
                  </a:lnTo>
                  <a:cubicBezTo>
                    <a:pt x="7006" y="306"/>
                    <a:pt x="7041" y="204"/>
                    <a:pt x="6998" y="119"/>
                  </a:cubicBezTo>
                  <a:lnTo>
                    <a:pt x="6998" y="119"/>
                  </a:lnTo>
                  <a:cubicBezTo>
                    <a:pt x="6956" y="35"/>
                    <a:pt x="6854" y="0"/>
                    <a:pt x="6769" y="43"/>
                  </a:cubicBezTo>
                  <a:lnTo>
                    <a:pt x="118" y="3369"/>
                  </a:lnTo>
                  <a:lnTo>
                    <a:pt x="118" y="3369"/>
                  </a:lnTo>
                  <a:cubicBezTo>
                    <a:pt x="34" y="3411"/>
                    <a:pt x="0" y="3514"/>
                    <a:pt x="41" y="3598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s-ES_tradnl"/>
            </a:p>
          </p:txBody>
        </p:sp>
        <p:sp>
          <p:nvSpPr>
            <p:cNvPr id="38" name="Freeform 53">
              <a:extLst>
                <a:ext uri="{FF2B5EF4-FFF2-40B4-BE49-F238E27FC236}">
                  <a16:creationId xmlns:a16="http://schemas.microsoft.com/office/drawing/2014/main" xmlns="" id="{AD787F73-B71A-A548-AFE7-D917E9CEDCD7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11369540">
              <a:off x="-1740319" y="6146629"/>
              <a:ext cx="5902672" cy="3076040"/>
            </a:xfrm>
            <a:custGeom>
              <a:avLst/>
              <a:gdLst>
                <a:gd name="T0" fmla="*/ 42 w 8086"/>
                <a:gd name="T1" fmla="*/ 4120 h 4240"/>
                <a:gd name="T2" fmla="*/ 42 w 8086"/>
                <a:gd name="T3" fmla="*/ 4120 h 4240"/>
                <a:gd name="T4" fmla="*/ 272 w 8086"/>
                <a:gd name="T5" fmla="*/ 4197 h 4240"/>
                <a:gd name="T6" fmla="*/ 7967 w 8086"/>
                <a:gd name="T7" fmla="*/ 349 h 4240"/>
                <a:gd name="T8" fmla="*/ 7967 w 8086"/>
                <a:gd name="T9" fmla="*/ 349 h 4240"/>
                <a:gd name="T10" fmla="*/ 8043 w 8086"/>
                <a:gd name="T11" fmla="*/ 119 h 4240"/>
                <a:gd name="T12" fmla="*/ 8043 w 8086"/>
                <a:gd name="T13" fmla="*/ 119 h 4240"/>
                <a:gd name="T14" fmla="*/ 7814 w 8086"/>
                <a:gd name="T15" fmla="*/ 43 h 4240"/>
                <a:gd name="T16" fmla="*/ 118 w 8086"/>
                <a:gd name="T17" fmla="*/ 3891 h 4240"/>
                <a:gd name="T18" fmla="*/ 118 w 8086"/>
                <a:gd name="T19" fmla="*/ 3891 h 4240"/>
                <a:gd name="T20" fmla="*/ 42 w 8086"/>
                <a:gd name="T21" fmla="*/ 4120 h 42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086" h="4240">
                  <a:moveTo>
                    <a:pt x="42" y="4120"/>
                  </a:moveTo>
                  <a:lnTo>
                    <a:pt x="42" y="4120"/>
                  </a:lnTo>
                  <a:cubicBezTo>
                    <a:pt x="84" y="4205"/>
                    <a:pt x="187" y="4239"/>
                    <a:pt x="272" y="4197"/>
                  </a:cubicBezTo>
                  <a:lnTo>
                    <a:pt x="7967" y="349"/>
                  </a:lnTo>
                  <a:lnTo>
                    <a:pt x="7967" y="349"/>
                  </a:lnTo>
                  <a:cubicBezTo>
                    <a:pt x="8051" y="307"/>
                    <a:pt x="8085" y="204"/>
                    <a:pt x="8043" y="119"/>
                  </a:cubicBezTo>
                  <a:lnTo>
                    <a:pt x="8043" y="119"/>
                  </a:lnTo>
                  <a:cubicBezTo>
                    <a:pt x="8001" y="35"/>
                    <a:pt x="7899" y="0"/>
                    <a:pt x="7814" y="43"/>
                  </a:cubicBezTo>
                  <a:lnTo>
                    <a:pt x="118" y="3891"/>
                  </a:lnTo>
                  <a:lnTo>
                    <a:pt x="118" y="3891"/>
                  </a:lnTo>
                  <a:cubicBezTo>
                    <a:pt x="34" y="3933"/>
                    <a:pt x="0" y="4036"/>
                    <a:pt x="42" y="4120"/>
                  </a:cubicBezTo>
                </a:path>
              </a:pathLst>
            </a:custGeom>
            <a:solidFill>
              <a:schemeClr val="accent2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s-ES_tradnl"/>
            </a:p>
          </p:txBody>
        </p:sp>
        <p:sp>
          <p:nvSpPr>
            <p:cNvPr id="39" name="Freeform 54">
              <a:extLst>
                <a:ext uri="{FF2B5EF4-FFF2-40B4-BE49-F238E27FC236}">
                  <a16:creationId xmlns:a16="http://schemas.microsoft.com/office/drawing/2014/main" xmlns="" id="{3EE90314-4BE7-D542-B82E-F9AB99AD230E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11369540">
              <a:off x="4438694" y="6377756"/>
              <a:ext cx="621163" cy="450856"/>
            </a:xfrm>
            <a:custGeom>
              <a:avLst/>
              <a:gdLst>
                <a:gd name="T0" fmla="*/ 43 w 849"/>
                <a:gd name="T1" fmla="*/ 501 h 620"/>
                <a:gd name="T2" fmla="*/ 43 w 849"/>
                <a:gd name="T3" fmla="*/ 501 h 620"/>
                <a:gd name="T4" fmla="*/ 271 w 849"/>
                <a:gd name="T5" fmla="*/ 577 h 620"/>
                <a:gd name="T6" fmla="*/ 730 w 849"/>
                <a:gd name="T7" fmla="*/ 348 h 620"/>
                <a:gd name="T8" fmla="*/ 730 w 849"/>
                <a:gd name="T9" fmla="*/ 348 h 620"/>
                <a:gd name="T10" fmla="*/ 806 w 849"/>
                <a:gd name="T11" fmla="*/ 119 h 620"/>
                <a:gd name="T12" fmla="*/ 806 w 849"/>
                <a:gd name="T13" fmla="*/ 119 h 620"/>
                <a:gd name="T14" fmla="*/ 577 w 849"/>
                <a:gd name="T15" fmla="*/ 43 h 620"/>
                <a:gd name="T16" fmla="*/ 119 w 849"/>
                <a:gd name="T17" fmla="*/ 272 h 620"/>
                <a:gd name="T18" fmla="*/ 119 w 849"/>
                <a:gd name="T19" fmla="*/ 272 h 620"/>
                <a:gd name="T20" fmla="*/ 43 w 849"/>
                <a:gd name="T21" fmla="*/ 501 h 6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49" h="620">
                  <a:moveTo>
                    <a:pt x="43" y="501"/>
                  </a:moveTo>
                  <a:lnTo>
                    <a:pt x="43" y="501"/>
                  </a:lnTo>
                  <a:cubicBezTo>
                    <a:pt x="85" y="586"/>
                    <a:pt x="187" y="619"/>
                    <a:pt x="271" y="577"/>
                  </a:cubicBezTo>
                  <a:lnTo>
                    <a:pt x="730" y="348"/>
                  </a:lnTo>
                  <a:lnTo>
                    <a:pt x="730" y="348"/>
                  </a:lnTo>
                  <a:cubicBezTo>
                    <a:pt x="814" y="306"/>
                    <a:pt x="848" y="204"/>
                    <a:pt x="806" y="119"/>
                  </a:cubicBezTo>
                  <a:lnTo>
                    <a:pt x="806" y="119"/>
                  </a:lnTo>
                  <a:cubicBezTo>
                    <a:pt x="764" y="35"/>
                    <a:pt x="661" y="0"/>
                    <a:pt x="577" y="43"/>
                  </a:cubicBezTo>
                  <a:lnTo>
                    <a:pt x="119" y="272"/>
                  </a:lnTo>
                  <a:lnTo>
                    <a:pt x="119" y="272"/>
                  </a:lnTo>
                  <a:cubicBezTo>
                    <a:pt x="34" y="314"/>
                    <a:pt x="0" y="416"/>
                    <a:pt x="43" y="501"/>
                  </a:cubicBezTo>
                </a:path>
              </a:pathLst>
            </a:custGeom>
            <a:solidFill>
              <a:schemeClr val="accent2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s-ES_tradnl"/>
            </a:p>
          </p:txBody>
        </p:sp>
        <p:sp>
          <p:nvSpPr>
            <p:cNvPr id="40" name="Freeform 55">
              <a:extLst>
                <a:ext uri="{FF2B5EF4-FFF2-40B4-BE49-F238E27FC236}">
                  <a16:creationId xmlns:a16="http://schemas.microsoft.com/office/drawing/2014/main" xmlns="" id="{D7F90983-5C09-C14C-A8D5-5DB20A25E89C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11369540">
              <a:off x="5173424" y="6288835"/>
              <a:ext cx="283226" cy="284583"/>
            </a:xfrm>
            <a:custGeom>
              <a:avLst/>
              <a:gdLst>
                <a:gd name="T0" fmla="*/ 42 w 390"/>
                <a:gd name="T1" fmla="*/ 271 h 391"/>
                <a:gd name="T2" fmla="*/ 42 w 390"/>
                <a:gd name="T3" fmla="*/ 271 h 391"/>
                <a:gd name="T4" fmla="*/ 270 w 390"/>
                <a:gd name="T5" fmla="*/ 348 h 391"/>
                <a:gd name="T6" fmla="*/ 270 w 390"/>
                <a:gd name="T7" fmla="*/ 348 h 391"/>
                <a:gd name="T8" fmla="*/ 347 w 390"/>
                <a:gd name="T9" fmla="*/ 119 h 391"/>
                <a:gd name="T10" fmla="*/ 347 w 390"/>
                <a:gd name="T11" fmla="*/ 119 h 391"/>
                <a:gd name="T12" fmla="*/ 118 w 390"/>
                <a:gd name="T13" fmla="*/ 42 h 391"/>
                <a:gd name="T14" fmla="*/ 118 w 390"/>
                <a:gd name="T15" fmla="*/ 42 h 391"/>
                <a:gd name="T16" fmla="*/ 42 w 390"/>
                <a:gd name="T17" fmla="*/ 271 h 3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90" h="391">
                  <a:moveTo>
                    <a:pt x="42" y="271"/>
                  </a:moveTo>
                  <a:lnTo>
                    <a:pt x="42" y="271"/>
                  </a:lnTo>
                  <a:cubicBezTo>
                    <a:pt x="84" y="356"/>
                    <a:pt x="187" y="390"/>
                    <a:pt x="270" y="348"/>
                  </a:cubicBezTo>
                  <a:lnTo>
                    <a:pt x="270" y="348"/>
                  </a:lnTo>
                  <a:cubicBezTo>
                    <a:pt x="355" y="306"/>
                    <a:pt x="389" y="203"/>
                    <a:pt x="347" y="119"/>
                  </a:cubicBezTo>
                  <a:lnTo>
                    <a:pt x="347" y="119"/>
                  </a:lnTo>
                  <a:cubicBezTo>
                    <a:pt x="305" y="34"/>
                    <a:pt x="202" y="0"/>
                    <a:pt x="118" y="42"/>
                  </a:cubicBezTo>
                  <a:lnTo>
                    <a:pt x="118" y="42"/>
                  </a:lnTo>
                  <a:cubicBezTo>
                    <a:pt x="34" y="84"/>
                    <a:pt x="0" y="187"/>
                    <a:pt x="42" y="271"/>
                  </a:cubicBezTo>
                </a:path>
              </a:pathLst>
            </a:custGeom>
            <a:solidFill>
              <a:schemeClr val="accent2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s-ES_tradnl"/>
            </a:p>
          </p:txBody>
        </p:sp>
        <p:sp>
          <p:nvSpPr>
            <p:cNvPr id="41" name="Freeform 56">
              <a:extLst>
                <a:ext uri="{FF2B5EF4-FFF2-40B4-BE49-F238E27FC236}">
                  <a16:creationId xmlns:a16="http://schemas.microsoft.com/office/drawing/2014/main" xmlns="" id="{49BA8D29-0CB1-1240-918D-D4DD05448D39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11369540">
              <a:off x="-2277819" y="8564985"/>
              <a:ext cx="286444" cy="284581"/>
            </a:xfrm>
            <a:custGeom>
              <a:avLst/>
              <a:gdLst>
                <a:gd name="T0" fmla="*/ 43 w 392"/>
                <a:gd name="T1" fmla="*/ 272 h 391"/>
                <a:gd name="T2" fmla="*/ 43 w 392"/>
                <a:gd name="T3" fmla="*/ 272 h 391"/>
                <a:gd name="T4" fmla="*/ 272 w 392"/>
                <a:gd name="T5" fmla="*/ 348 h 391"/>
                <a:gd name="T6" fmla="*/ 272 w 392"/>
                <a:gd name="T7" fmla="*/ 348 h 391"/>
                <a:gd name="T8" fmla="*/ 349 w 392"/>
                <a:gd name="T9" fmla="*/ 119 h 391"/>
                <a:gd name="T10" fmla="*/ 349 w 392"/>
                <a:gd name="T11" fmla="*/ 119 h 391"/>
                <a:gd name="T12" fmla="*/ 119 w 392"/>
                <a:gd name="T13" fmla="*/ 43 h 391"/>
                <a:gd name="T14" fmla="*/ 119 w 392"/>
                <a:gd name="T15" fmla="*/ 43 h 391"/>
                <a:gd name="T16" fmla="*/ 43 w 392"/>
                <a:gd name="T17" fmla="*/ 272 h 3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92" h="391">
                  <a:moveTo>
                    <a:pt x="43" y="272"/>
                  </a:moveTo>
                  <a:lnTo>
                    <a:pt x="43" y="272"/>
                  </a:lnTo>
                  <a:cubicBezTo>
                    <a:pt x="85" y="356"/>
                    <a:pt x="188" y="390"/>
                    <a:pt x="272" y="348"/>
                  </a:cubicBezTo>
                  <a:lnTo>
                    <a:pt x="272" y="348"/>
                  </a:lnTo>
                  <a:cubicBezTo>
                    <a:pt x="356" y="306"/>
                    <a:pt x="391" y="204"/>
                    <a:pt x="349" y="119"/>
                  </a:cubicBezTo>
                  <a:lnTo>
                    <a:pt x="349" y="119"/>
                  </a:lnTo>
                  <a:cubicBezTo>
                    <a:pt x="306" y="34"/>
                    <a:pt x="204" y="0"/>
                    <a:pt x="119" y="43"/>
                  </a:cubicBezTo>
                  <a:lnTo>
                    <a:pt x="119" y="43"/>
                  </a:lnTo>
                  <a:cubicBezTo>
                    <a:pt x="35" y="85"/>
                    <a:pt x="0" y="187"/>
                    <a:pt x="43" y="272"/>
                  </a:cubicBezTo>
                </a:path>
              </a:pathLst>
            </a:custGeom>
            <a:solidFill>
              <a:schemeClr val="accent2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s-ES_tradnl"/>
            </a:p>
          </p:txBody>
        </p:sp>
        <p:sp>
          <p:nvSpPr>
            <p:cNvPr id="42" name="Freeform 45">
              <a:extLst>
                <a:ext uri="{FF2B5EF4-FFF2-40B4-BE49-F238E27FC236}">
                  <a16:creationId xmlns:a16="http://schemas.microsoft.com/office/drawing/2014/main" xmlns="" id="{EB72D185-DE48-E745-9883-CBEC2A8F4FAD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11369540">
              <a:off x="7014175" y="6035122"/>
              <a:ext cx="1618891" cy="946474"/>
            </a:xfrm>
            <a:custGeom>
              <a:avLst/>
              <a:gdLst>
                <a:gd name="T0" fmla="*/ 2174 w 2217"/>
                <a:gd name="T1" fmla="*/ 119 h 1304"/>
                <a:gd name="T2" fmla="*/ 2174 w 2217"/>
                <a:gd name="T3" fmla="*/ 119 h 1304"/>
                <a:gd name="T4" fmla="*/ 1944 w 2217"/>
                <a:gd name="T5" fmla="*/ 42 h 1304"/>
                <a:gd name="T6" fmla="*/ 119 w 2217"/>
                <a:gd name="T7" fmla="*/ 956 h 1304"/>
                <a:gd name="T8" fmla="*/ 119 w 2217"/>
                <a:gd name="T9" fmla="*/ 956 h 1304"/>
                <a:gd name="T10" fmla="*/ 42 w 2217"/>
                <a:gd name="T11" fmla="*/ 1185 h 1304"/>
                <a:gd name="T12" fmla="*/ 42 w 2217"/>
                <a:gd name="T13" fmla="*/ 1185 h 1304"/>
                <a:gd name="T14" fmla="*/ 271 w 2217"/>
                <a:gd name="T15" fmla="*/ 1262 h 1304"/>
                <a:gd name="T16" fmla="*/ 2098 w 2217"/>
                <a:gd name="T17" fmla="*/ 348 h 1304"/>
                <a:gd name="T18" fmla="*/ 2098 w 2217"/>
                <a:gd name="T19" fmla="*/ 348 h 1304"/>
                <a:gd name="T20" fmla="*/ 2174 w 2217"/>
                <a:gd name="T21" fmla="*/ 119 h 13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217" h="1304">
                  <a:moveTo>
                    <a:pt x="2174" y="119"/>
                  </a:moveTo>
                  <a:lnTo>
                    <a:pt x="2174" y="119"/>
                  </a:lnTo>
                  <a:cubicBezTo>
                    <a:pt x="2132" y="34"/>
                    <a:pt x="2029" y="0"/>
                    <a:pt x="1944" y="42"/>
                  </a:cubicBezTo>
                  <a:lnTo>
                    <a:pt x="119" y="956"/>
                  </a:lnTo>
                  <a:lnTo>
                    <a:pt x="119" y="956"/>
                  </a:lnTo>
                  <a:cubicBezTo>
                    <a:pt x="34" y="998"/>
                    <a:pt x="0" y="1101"/>
                    <a:pt x="42" y="1185"/>
                  </a:cubicBezTo>
                  <a:lnTo>
                    <a:pt x="42" y="1185"/>
                  </a:lnTo>
                  <a:cubicBezTo>
                    <a:pt x="84" y="1269"/>
                    <a:pt x="187" y="1303"/>
                    <a:pt x="271" y="1262"/>
                  </a:cubicBezTo>
                  <a:lnTo>
                    <a:pt x="2098" y="348"/>
                  </a:lnTo>
                  <a:lnTo>
                    <a:pt x="2098" y="348"/>
                  </a:lnTo>
                  <a:cubicBezTo>
                    <a:pt x="2182" y="306"/>
                    <a:pt x="2216" y="203"/>
                    <a:pt x="2174" y="119"/>
                  </a:cubicBezTo>
                </a:path>
              </a:pathLst>
            </a:custGeom>
            <a:solidFill>
              <a:schemeClr val="accent5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s-ES_tradnl"/>
            </a:p>
          </p:txBody>
        </p:sp>
        <p:sp>
          <p:nvSpPr>
            <p:cNvPr id="43" name="Freeform 31">
              <a:extLst>
                <a:ext uri="{FF2B5EF4-FFF2-40B4-BE49-F238E27FC236}">
                  <a16:creationId xmlns:a16="http://schemas.microsoft.com/office/drawing/2014/main" xmlns="" id="{E15D5F49-AE8E-B540-A2BC-CFBAF989017C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11369540">
              <a:off x="73104" y="5622045"/>
              <a:ext cx="1618891" cy="946474"/>
            </a:xfrm>
            <a:custGeom>
              <a:avLst/>
              <a:gdLst>
                <a:gd name="T0" fmla="*/ 42 w 2217"/>
                <a:gd name="T1" fmla="*/ 1184 h 1304"/>
                <a:gd name="T2" fmla="*/ 42 w 2217"/>
                <a:gd name="T3" fmla="*/ 1184 h 1304"/>
                <a:gd name="T4" fmla="*/ 272 w 2217"/>
                <a:gd name="T5" fmla="*/ 1261 h 1304"/>
                <a:gd name="T6" fmla="*/ 2097 w 2217"/>
                <a:gd name="T7" fmla="*/ 348 h 1304"/>
                <a:gd name="T8" fmla="*/ 2097 w 2217"/>
                <a:gd name="T9" fmla="*/ 348 h 1304"/>
                <a:gd name="T10" fmla="*/ 2174 w 2217"/>
                <a:gd name="T11" fmla="*/ 119 h 1304"/>
                <a:gd name="T12" fmla="*/ 2174 w 2217"/>
                <a:gd name="T13" fmla="*/ 119 h 1304"/>
                <a:gd name="T14" fmla="*/ 1945 w 2217"/>
                <a:gd name="T15" fmla="*/ 42 h 1304"/>
                <a:gd name="T16" fmla="*/ 118 w 2217"/>
                <a:gd name="T17" fmla="*/ 955 h 1304"/>
                <a:gd name="T18" fmla="*/ 118 w 2217"/>
                <a:gd name="T19" fmla="*/ 955 h 1304"/>
                <a:gd name="T20" fmla="*/ 42 w 2217"/>
                <a:gd name="T21" fmla="*/ 1184 h 13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217" h="1304">
                  <a:moveTo>
                    <a:pt x="42" y="1184"/>
                  </a:moveTo>
                  <a:lnTo>
                    <a:pt x="42" y="1184"/>
                  </a:lnTo>
                  <a:cubicBezTo>
                    <a:pt x="84" y="1269"/>
                    <a:pt x="187" y="1303"/>
                    <a:pt x="272" y="1261"/>
                  </a:cubicBezTo>
                  <a:lnTo>
                    <a:pt x="2097" y="348"/>
                  </a:lnTo>
                  <a:lnTo>
                    <a:pt x="2097" y="348"/>
                  </a:lnTo>
                  <a:cubicBezTo>
                    <a:pt x="2182" y="305"/>
                    <a:pt x="2216" y="202"/>
                    <a:pt x="2174" y="119"/>
                  </a:cubicBezTo>
                  <a:lnTo>
                    <a:pt x="2174" y="119"/>
                  </a:lnTo>
                  <a:cubicBezTo>
                    <a:pt x="2132" y="34"/>
                    <a:pt x="2029" y="0"/>
                    <a:pt x="1945" y="42"/>
                  </a:cubicBezTo>
                  <a:lnTo>
                    <a:pt x="118" y="955"/>
                  </a:lnTo>
                  <a:lnTo>
                    <a:pt x="118" y="955"/>
                  </a:lnTo>
                  <a:cubicBezTo>
                    <a:pt x="34" y="997"/>
                    <a:pt x="0" y="1100"/>
                    <a:pt x="42" y="1184"/>
                  </a:cubicBezTo>
                </a:path>
              </a:pathLst>
            </a:custGeom>
            <a:solidFill>
              <a:schemeClr val="accent3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s-ES_tradnl"/>
            </a:p>
          </p:txBody>
        </p:sp>
      </p:grpSp>
      <p:sp>
        <p:nvSpPr>
          <p:cNvPr id="4" name="Textplatzhalter 3"/>
          <p:cNvSpPr>
            <a:spLocks noGrp="1"/>
          </p:cNvSpPr>
          <p:nvPr>
            <p:ph type="body" sz="quarter" idx="11"/>
          </p:nvPr>
        </p:nvSpPr>
        <p:spPr>
          <a:xfrm>
            <a:off x="572493" y="1952317"/>
            <a:ext cx="9840749" cy="3656913"/>
          </a:xfrm>
          <a:prstGeom prst="rect">
            <a:avLst/>
          </a:prstGeom>
        </p:spPr>
        <p:txBody>
          <a:bodyPr/>
          <a:lstStyle>
            <a:lvl1pPr marL="228600" indent="-228600">
              <a:buFontTx/>
              <a:buBlip>
                <a:blip r:embed="rId2"/>
              </a:buBlip>
              <a:defRPr sz="1600"/>
            </a:lvl1pPr>
            <a:lvl2pPr marL="685800" indent="-228600">
              <a:buFontTx/>
              <a:buBlip>
                <a:blip r:embed="rId2"/>
              </a:buBlip>
              <a:defRPr sz="1600"/>
            </a:lvl2pPr>
            <a:lvl3pPr marL="1200150" indent="-285750">
              <a:buFontTx/>
              <a:buBlip>
                <a:blip r:embed="rId2"/>
              </a:buBlip>
              <a:defRPr sz="1600"/>
            </a:lvl3pPr>
            <a:lvl4pPr marL="1600200" indent="-228600">
              <a:buFontTx/>
              <a:buBlip>
                <a:blip r:embed="rId2"/>
              </a:buBlip>
              <a:defRPr sz="1600"/>
            </a:lvl4pPr>
            <a:lvl5pPr marL="2057400" indent="-228600">
              <a:buFontTx/>
              <a:buBlip>
                <a:blip r:embed="rId2"/>
              </a:buBlip>
              <a:defRPr sz="1600"/>
            </a:lvl5pPr>
          </a:lstStyle>
          <a:p>
            <a:pPr lvl="0"/>
            <a:r>
              <a:rPr lang="de-DE" dirty="0"/>
              <a:t>Formatvorlagen des Textmasters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366236121"/>
      </p:ext>
    </p:extLst>
  </p:cSld>
  <p:clrMapOvr>
    <a:masterClrMapping/>
  </p:clrMapOvr>
  <p:extLst>
    <p:ext uri="{DCECCB84-F9BA-43D5-87BE-67443E8EF086}">
      <p15:sldGuideLst xmlns:p15="http://schemas.microsoft.com/office/powerpoint/2012/main" xmlns="">
        <p15:guide id="1" orient="horz" pos="391">
          <p15:clr>
            <a:srgbClr val="FBAE40"/>
          </p15:clr>
        </p15:guide>
        <p15:guide id="3" pos="3840">
          <p15:clr>
            <a:srgbClr val="FBAE40"/>
          </p15:clr>
        </p15:guide>
        <p15:guide id="4" pos="438">
          <p15:clr>
            <a:srgbClr val="FBAE40"/>
          </p15:clr>
        </p15:guide>
        <p15:guide id="5" pos="2593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Überschrift und Kreise mit Text_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5E8BE331-C93C-4A62-8706-E5CDAF2B355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6000" y="576000"/>
            <a:ext cx="10515600" cy="427877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3200" baseline="0">
                <a:solidFill>
                  <a:srgbClr val="FFFFFF"/>
                </a:solidFill>
                <a:latin typeface="Roboto Medium" panose="02000000000000000000" pitchFamily="2" charset="0"/>
                <a:ea typeface="Roboto Medium" panose="02000000000000000000" pitchFamily="2" charset="0"/>
              </a:defRPr>
            </a:lvl1pPr>
          </a:lstStyle>
          <a:p>
            <a:r>
              <a:rPr lang="en-US" dirty="0" err="1"/>
              <a:t>Hier</a:t>
            </a:r>
            <a:r>
              <a:rPr lang="en-US" dirty="0"/>
              <a:t> </a:t>
            </a:r>
            <a:r>
              <a:rPr lang="en-US" dirty="0" err="1"/>
              <a:t>könnte</a:t>
            </a:r>
            <a:r>
              <a:rPr lang="en-US" dirty="0"/>
              <a:t> </a:t>
            </a:r>
            <a:r>
              <a:rPr lang="en-US" dirty="0" err="1"/>
              <a:t>Ihre</a:t>
            </a:r>
            <a:r>
              <a:rPr lang="en-US" dirty="0"/>
              <a:t> </a:t>
            </a:r>
            <a:r>
              <a:rPr lang="en-US" dirty="0" err="1"/>
              <a:t>Überschrift</a:t>
            </a:r>
            <a:r>
              <a:rPr lang="en-US" dirty="0"/>
              <a:t> </a:t>
            </a:r>
            <a:r>
              <a:rPr lang="en-US" dirty="0" err="1"/>
              <a:t>stehen</a:t>
            </a:r>
            <a:endParaRPr lang="en-IN" dirty="0"/>
          </a:p>
        </p:txBody>
      </p:sp>
      <p:sp>
        <p:nvSpPr>
          <p:cNvPr id="12" name="Freeform: Shape 7696"/>
          <p:cNvSpPr/>
          <p:nvPr userDrawn="1"/>
        </p:nvSpPr>
        <p:spPr>
          <a:xfrm rot="4800">
            <a:off x="704463" y="1834296"/>
            <a:ext cx="2180965" cy="2183910"/>
          </a:xfrm>
          <a:custGeom>
            <a:avLst/>
            <a:gdLst/>
            <a:ahLst/>
            <a:cxnLst>
              <a:cxn ang="3cd4">
                <a:pos x="hc" y="t"/>
              </a:cxn>
              <a:cxn ang="cd2">
                <a:pos x="l" y="vc"/>
              </a:cxn>
              <a:cxn ang="cd4">
                <a:pos x="hc" y="b"/>
              </a:cxn>
              <a:cxn ang="0">
                <a:pos x="r" y="vc"/>
              </a:cxn>
            </a:cxnLst>
            <a:rect l="l" t="t" r="r" b="b"/>
            <a:pathLst>
              <a:path w="742" h="743">
                <a:moveTo>
                  <a:pt x="742" y="372"/>
                </a:moveTo>
                <a:cubicBezTo>
                  <a:pt x="742" y="577"/>
                  <a:pt x="576" y="743"/>
                  <a:pt x="371" y="743"/>
                </a:cubicBezTo>
                <a:cubicBezTo>
                  <a:pt x="166" y="743"/>
                  <a:pt x="0" y="577"/>
                  <a:pt x="0" y="372"/>
                </a:cubicBezTo>
                <a:cubicBezTo>
                  <a:pt x="0" y="166"/>
                  <a:pt x="166" y="0"/>
                  <a:pt x="371" y="0"/>
                </a:cubicBezTo>
                <a:cubicBezTo>
                  <a:pt x="576" y="0"/>
                  <a:pt x="742" y="166"/>
                  <a:pt x="742" y="372"/>
                </a:cubicBezTo>
                <a:close/>
              </a:path>
            </a:pathLst>
          </a:custGeom>
          <a:solidFill>
            <a:schemeClr val="accent1"/>
          </a:solidFill>
          <a:ln cap="flat">
            <a:noFill/>
            <a:prstDash val="solid"/>
          </a:ln>
        </p:spPr>
        <p:txBody>
          <a:bodyPr vert="horz" wrap="none" lIns="45000" tIns="22500" rIns="45000" bIns="22500" anchor="ctr" anchorCtr="1" compatLnSpc="0"/>
          <a:lstStyle/>
          <a:p>
            <a:pPr hangingPunct="0"/>
            <a:endParaRPr lang="en-US" sz="900">
              <a:latin typeface="Arial" pitchFamily="18"/>
              <a:ea typeface="Arial Unicode MS" pitchFamily="2"/>
              <a:cs typeface="Arial Unicode MS" pitchFamily="2"/>
            </a:endParaRPr>
          </a:p>
        </p:txBody>
      </p:sp>
      <p:sp>
        <p:nvSpPr>
          <p:cNvPr id="13" name="Freeform: Shape 7697"/>
          <p:cNvSpPr/>
          <p:nvPr userDrawn="1"/>
        </p:nvSpPr>
        <p:spPr>
          <a:xfrm rot="4800">
            <a:off x="2502595" y="3405244"/>
            <a:ext cx="2183908" cy="2183910"/>
          </a:xfrm>
          <a:custGeom>
            <a:avLst/>
            <a:gdLst/>
            <a:ahLst/>
            <a:cxnLst>
              <a:cxn ang="3cd4">
                <a:pos x="hc" y="t"/>
              </a:cxn>
              <a:cxn ang="cd2">
                <a:pos x="l" y="vc"/>
              </a:cxn>
              <a:cxn ang="cd4">
                <a:pos x="hc" y="b"/>
              </a:cxn>
              <a:cxn ang="0">
                <a:pos x="r" y="vc"/>
              </a:cxn>
            </a:cxnLst>
            <a:rect l="l" t="t" r="r" b="b"/>
            <a:pathLst>
              <a:path w="743" h="743">
                <a:moveTo>
                  <a:pt x="743" y="372"/>
                </a:moveTo>
                <a:cubicBezTo>
                  <a:pt x="743" y="577"/>
                  <a:pt x="576" y="743"/>
                  <a:pt x="371" y="743"/>
                </a:cubicBezTo>
                <a:cubicBezTo>
                  <a:pt x="166" y="743"/>
                  <a:pt x="0" y="577"/>
                  <a:pt x="0" y="372"/>
                </a:cubicBezTo>
                <a:cubicBezTo>
                  <a:pt x="0" y="167"/>
                  <a:pt x="166" y="0"/>
                  <a:pt x="371" y="0"/>
                </a:cubicBezTo>
                <a:cubicBezTo>
                  <a:pt x="576" y="0"/>
                  <a:pt x="743" y="167"/>
                  <a:pt x="743" y="372"/>
                </a:cubicBezTo>
                <a:close/>
              </a:path>
            </a:pathLst>
          </a:custGeom>
          <a:solidFill>
            <a:schemeClr val="accent2"/>
          </a:solidFill>
          <a:ln cap="flat">
            <a:noFill/>
            <a:prstDash val="solid"/>
          </a:ln>
        </p:spPr>
        <p:txBody>
          <a:bodyPr vert="horz" wrap="none" lIns="45000" tIns="22500" rIns="45000" bIns="22500" anchor="ctr" anchorCtr="1" compatLnSpc="0"/>
          <a:lstStyle/>
          <a:p>
            <a:pPr hangingPunct="0"/>
            <a:endParaRPr lang="en-US" sz="900">
              <a:latin typeface="Arial" pitchFamily="18"/>
              <a:ea typeface="Arial Unicode MS" pitchFamily="2"/>
              <a:cs typeface="Arial Unicode MS" pitchFamily="2"/>
            </a:endParaRPr>
          </a:p>
        </p:txBody>
      </p:sp>
      <p:sp>
        <p:nvSpPr>
          <p:cNvPr id="14" name="Freeform: Shape 7698"/>
          <p:cNvSpPr/>
          <p:nvPr userDrawn="1"/>
        </p:nvSpPr>
        <p:spPr>
          <a:xfrm rot="4800">
            <a:off x="4275693" y="1829922"/>
            <a:ext cx="2183908" cy="2183910"/>
          </a:xfrm>
          <a:custGeom>
            <a:avLst/>
            <a:gdLst/>
            <a:ahLst/>
            <a:cxnLst>
              <a:cxn ang="3cd4">
                <a:pos x="hc" y="t"/>
              </a:cxn>
              <a:cxn ang="cd2">
                <a:pos x="l" y="vc"/>
              </a:cxn>
              <a:cxn ang="cd4">
                <a:pos x="hc" y="b"/>
              </a:cxn>
              <a:cxn ang="0">
                <a:pos x="r" y="vc"/>
              </a:cxn>
            </a:cxnLst>
            <a:rect l="l" t="t" r="r" b="b"/>
            <a:pathLst>
              <a:path w="743" h="743">
                <a:moveTo>
                  <a:pt x="743" y="371"/>
                </a:moveTo>
                <a:cubicBezTo>
                  <a:pt x="743" y="576"/>
                  <a:pt x="576" y="743"/>
                  <a:pt x="371" y="743"/>
                </a:cubicBezTo>
                <a:cubicBezTo>
                  <a:pt x="166" y="743"/>
                  <a:pt x="0" y="576"/>
                  <a:pt x="0" y="371"/>
                </a:cubicBezTo>
                <a:cubicBezTo>
                  <a:pt x="0" y="166"/>
                  <a:pt x="166" y="0"/>
                  <a:pt x="371" y="0"/>
                </a:cubicBezTo>
                <a:cubicBezTo>
                  <a:pt x="576" y="0"/>
                  <a:pt x="743" y="166"/>
                  <a:pt x="743" y="371"/>
                </a:cubicBezTo>
                <a:close/>
              </a:path>
            </a:pathLst>
          </a:custGeom>
          <a:solidFill>
            <a:schemeClr val="accent3"/>
          </a:solidFill>
          <a:ln cap="flat">
            <a:noFill/>
            <a:prstDash val="solid"/>
          </a:ln>
        </p:spPr>
        <p:txBody>
          <a:bodyPr vert="horz" wrap="none" lIns="45000" tIns="22500" rIns="45000" bIns="22500" anchor="ctr" anchorCtr="1" compatLnSpc="0"/>
          <a:lstStyle/>
          <a:p>
            <a:pPr hangingPunct="0"/>
            <a:endParaRPr lang="en-US" sz="900">
              <a:latin typeface="Arial" pitchFamily="18"/>
              <a:ea typeface="Arial Unicode MS" pitchFamily="2"/>
              <a:cs typeface="Arial Unicode MS" pitchFamily="2"/>
            </a:endParaRPr>
          </a:p>
        </p:txBody>
      </p:sp>
      <p:sp>
        <p:nvSpPr>
          <p:cNvPr id="16" name="Freeform: Shape 7699"/>
          <p:cNvSpPr/>
          <p:nvPr userDrawn="1"/>
        </p:nvSpPr>
        <p:spPr>
          <a:xfrm rot="4800">
            <a:off x="6041457" y="3400830"/>
            <a:ext cx="2183908" cy="2183910"/>
          </a:xfrm>
          <a:custGeom>
            <a:avLst/>
            <a:gdLst/>
            <a:ahLst/>
            <a:cxnLst>
              <a:cxn ang="3cd4">
                <a:pos x="hc" y="t"/>
              </a:cxn>
              <a:cxn ang="cd2">
                <a:pos x="l" y="vc"/>
              </a:cxn>
              <a:cxn ang="cd4">
                <a:pos x="hc" y="b"/>
              </a:cxn>
              <a:cxn ang="0">
                <a:pos x="r" y="vc"/>
              </a:cxn>
            </a:cxnLst>
            <a:rect l="l" t="t" r="r" b="b"/>
            <a:pathLst>
              <a:path w="743" h="743">
                <a:moveTo>
                  <a:pt x="743" y="371"/>
                </a:moveTo>
                <a:cubicBezTo>
                  <a:pt x="743" y="576"/>
                  <a:pt x="577" y="743"/>
                  <a:pt x="372" y="743"/>
                </a:cubicBezTo>
                <a:cubicBezTo>
                  <a:pt x="166" y="743"/>
                  <a:pt x="0" y="576"/>
                  <a:pt x="0" y="371"/>
                </a:cubicBezTo>
                <a:cubicBezTo>
                  <a:pt x="0" y="166"/>
                  <a:pt x="166" y="0"/>
                  <a:pt x="372" y="0"/>
                </a:cubicBezTo>
                <a:cubicBezTo>
                  <a:pt x="577" y="0"/>
                  <a:pt x="743" y="166"/>
                  <a:pt x="743" y="371"/>
                </a:cubicBezTo>
                <a:close/>
              </a:path>
            </a:pathLst>
          </a:custGeom>
          <a:solidFill>
            <a:schemeClr val="accent4"/>
          </a:solidFill>
          <a:ln cap="flat">
            <a:noFill/>
            <a:prstDash val="solid"/>
          </a:ln>
        </p:spPr>
        <p:txBody>
          <a:bodyPr vert="horz" wrap="none" lIns="45000" tIns="22500" rIns="45000" bIns="22500" anchor="ctr" anchorCtr="1" compatLnSpc="0"/>
          <a:lstStyle/>
          <a:p>
            <a:pPr hangingPunct="0"/>
            <a:endParaRPr lang="en-US" sz="900">
              <a:latin typeface="Arial" pitchFamily="18"/>
              <a:ea typeface="Arial Unicode MS" pitchFamily="2"/>
              <a:cs typeface="Arial Unicode MS" pitchFamily="2"/>
            </a:endParaRPr>
          </a:p>
        </p:txBody>
      </p:sp>
      <p:sp>
        <p:nvSpPr>
          <p:cNvPr id="17" name="Freeform: Shape 7700"/>
          <p:cNvSpPr/>
          <p:nvPr userDrawn="1"/>
        </p:nvSpPr>
        <p:spPr>
          <a:xfrm rot="4800">
            <a:off x="7814555" y="1822556"/>
            <a:ext cx="2183908" cy="2183910"/>
          </a:xfrm>
          <a:custGeom>
            <a:avLst/>
            <a:gdLst/>
            <a:ahLst/>
            <a:cxnLst>
              <a:cxn ang="3cd4">
                <a:pos x="hc" y="t"/>
              </a:cxn>
              <a:cxn ang="cd2">
                <a:pos x="l" y="vc"/>
              </a:cxn>
              <a:cxn ang="cd4">
                <a:pos x="hc" y="b"/>
              </a:cxn>
              <a:cxn ang="0">
                <a:pos x="r" y="vc"/>
              </a:cxn>
            </a:cxnLst>
            <a:rect l="l" t="t" r="r" b="b"/>
            <a:pathLst>
              <a:path w="743" h="743">
                <a:moveTo>
                  <a:pt x="743" y="371"/>
                </a:moveTo>
                <a:cubicBezTo>
                  <a:pt x="743" y="577"/>
                  <a:pt x="576" y="743"/>
                  <a:pt x="371" y="743"/>
                </a:cubicBezTo>
                <a:cubicBezTo>
                  <a:pt x="166" y="743"/>
                  <a:pt x="0" y="577"/>
                  <a:pt x="0" y="371"/>
                </a:cubicBezTo>
                <a:cubicBezTo>
                  <a:pt x="0" y="166"/>
                  <a:pt x="166" y="0"/>
                  <a:pt x="371" y="0"/>
                </a:cubicBezTo>
                <a:cubicBezTo>
                  <a:pt x="576" y="0"/>
                  <a:pt x="743" y="166"/>
                  <a:pt x="743" y="371"/>
                </a:cubicBezTo>
                <a:close/>
              </a:path>
            </a:pathLst>
          </a:custGeom>
          <a:solidFill>
            <a:schemeClr val="accent5"/>
          </a:solidFill>
          <a:ln cap="flat">
            <a:noFill/>
            <a:prstDash val="solid"/>
          </a:ln>
        </p:spPr>
        <p:txBody>
          <a:bodyPr vert="horz" wrap="none" lIns="45000" tIns="22500" rIns="45000" bIns="22500" anchor="ctr" anchorCtr="1" compatLnSpc="0"/>
          <a:lstStyle/>
          <a:p>
            <a:pPr hangingPunct="0"/>
            <a:endParaRPr lang="en-US" sz="900">
              <a:latin typeface="Arial" pitchFamily="18"/>
              <a:ea typeface="Arial Unicode MS" pitchFamily="2"/>
              <a:cs typeface="Arial Unicode MS" pitchFamily="2"/>
            </a:endParaRPr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xmlns="" id="{A446D049-F822-4B92-BFB6-EE0B8087C4C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904875" y="2277457"/>
            <a:ext cx="1753899" cy="330864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lang="en-IN" sz="2000" b="1" kern="1200" baseline="0" dirty="0">
                <a:solidFill>
                  <a:schemeClr val="tx1"/>
                </a:solidFill>
                <a:latin typeface="Roboto Cn" pitchFamily="2" charset="0"/>
                <a:ea typeface="Roboto Cn" pitchFamily="2" charset="0"/>
                <a:cs typeface="+mn-cs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 err="1"/>
              <a:t>Punkt</a:t>
            </a:r>
            <a:r>
              <a:rPr lang="en-US" dirty="0"/>
              <a:t> 01</a:t>
            </a:r>
            <a:endParaRPr lang="en-IN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1" hasCustomPrompt="1"/>
          </p:nvPr>
        </p:nvSpPr>
        <p:spPr>
          <a:xfrm>
            <a:off x="4404595" y="2277457"/>
            <a:ext cx="1918767" cy="330655"/>
          </a:xfrm>
          <a:prstGeom prst="rect">
            <a:avLst/>
          </a:prstGeom>
        </p:spPr>
        <p:txBody>
          <a:bodyPr/>
          <a:lstStyle>
            <a:lvl1pPr marL="0" indent="0" algn="ctr">
              <a:buFontTx/>
              <a:buNone/>
              <a:defRPr lang="de-DE" sz="2000" b="1" kern="1200" baseline="0" dirty="0" smtClean="0">
                <a:solidFill>
                  <a:srgbClr val="002B6A"/>
                </a:solidFill>
                <a:latin typeface="Roboto Cn" pitchFamily="2" charset="0"/>
                <a:ea typeface="Roboto Cn" pitchFamily="2" charset="0"/>
                <a:cs typeface="+mn-cs"/>
              </a:defRPr>
            </a:lvl1pPr>
            <a:lvl2pPr marL="457200" indent="0">
              <a:buFontTx/>
              <a:buNone/>
              <a:defRPr lang="de-DE" sz="2000" kern="1200" baseline="0" dirty="0" smtClean="0">
                <a:solidFill>
                  <a:schemeClr val="accent5"/>
                </a:solidFill>
                <a:latin typeface="Roboto Cn" pitchFamily="2" charset="0"/>
                <a:ea typeface="Roboto Cn" pitchFamily="2" charset="0"/>
                <a:cs typeface="+mn-cs"/>
              </a:defRPr>
            </a:lvl2pPr>
            <a:lvl3pPr>
              <a:buFontTx/>
              <a:buNone/>
              <a:defRPr lang="de-DE" sz="2000" kern="1200" baseline="0" dirty="0" smtClean="0">
                <a:solidFill>
                  <a:schemeClr val="accent5"/>
                </a:solidFill>
                <a:latin typeface="Roboto Cn" pitchFamily="2" charset="0"/>
                <a:ea typeface="Roboto Cn" pitchFamily="2" charset="0"/>
                <a:cs typeface="+mn-cs"/>
              </a:defRPr>
            </a:lvl3pPr>
            <a:lvl4pPr marL="1371600" indent="0">
              <a:buFontTx/>
              <a:buNone/>
              <a:defRPr lang="de-DE" sz="2000" kern="1200" baseline="0" dirty="0" smtClean="0">
                <a:solidFill>
                  <a:schemeClr val="accent5"/>
                </a:solidFill>
                <a:latin typeface="Roboto Cn" pitchFamily="2" charset="0"/>
                <a:ea typeface="Roboto Cn" pitchFamily="2" charset="0"/>
                <a:cs typeface="+mn-cs"/>
              </a:defRPr>
            </a:lvl4pPr>
            <a:lvl5pPr marL="1828800" indent="0">
              <a:buFontTx/>
              <a:buNone/>
              <a:defRPr lang="de-DE" sz="2000" kern="1200" baseline="0" dirty="0">
                <a:solidFill>
                  <a:schemeClr val="accent5"/>
                </a:solidFill>
                <a:latin typeface="Roboto Cn" pitchFamily="2" charset="0"/>
                <a:ea typeface="Roboto Cn" pitchFamily="2" charset="0"/>
                <a:cs typeface="+mn-cs"/>
              </a:defRPr>
            </a:lvl5pPr>
          </a:lstStyle>
          <a:p>
            <a:pPr lvl="0"/>
            <a:r>
              <a:rPr lang="de-DE" dirty="0"/>
              <a:t>Punkt 03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0" hasCustomPrompt="1"/>
          </p:nvPr>
        </p:nvSpPr>
        <p:spPr>
          <a:xfrm>
            <a:off x="709200" y="2694227"/>
            <a:ext cx="2160000" cy="1080000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ts val="2400"/>
              </a:lnSpc>
              <a:buSzPct val="65000"/>
              <a:buFontTx/>
              <a:buNone/>
              <a:tabLst>
                <a:tab pos="1704975" algn="l"/>
              </a:tabLst>
              <a:defRPr lang="de-DE" sz="1600" kern="1200" baseline="0" dirty="0" err="1" smtClean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+mn-cs"/>
              </a:defRPr>
            </a:lvl1pPr>
            <a:lvl2pPr marL="457200" indent="0">
              <a:buFontTx/>
              <a:buNone/>
              <a:defRPr lang="de-DE" sz="1600" kern="1200" dirty="0" smtClean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+mn-cs"/>
              </a:defRPr>
            </a:lvl2pPr>
            <a:lvl3pPr>
              <a:buFontTx/>
              <a:buNone/>
              <a:defRPr lang="de-DE" sz="1600" kern="1200" dirty="0" smtClean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+mn-cs"/>
              </a:defRPr>
            </a:lvl3pPr>
            <a:lvl4pPr marL="1371600" indent="0">
              <a:buFontTx/>
              <a:buNone/>
              <a:defRPr lang="de-DE" sz="1600" kern="1200" dirty="0" smtClean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+mn-cs"/>
              </a:defRPr>
            </a:lvl4pPr>
            <a:lvl5pPr marL="1828800" indent="0">
              <a:buFontTx/>
              <a:buNone/>
              <a:defRPr lang="de-DE" sz="1600" kern="12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+mn-cs"/>
              </a:defRPr>
            </a:lvl5pPr>
          </a:lstStyle>
          <a:p>
            <a:pPr lvl="0"/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Zwei- oder dreizeiliger Beispieltext für</a:t>
            </a:r>
            <a:b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</a:b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Information im Kreis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5" hasCustomPrompt="1"/>
          </p:nvPr>
        </p:nvSpPr>
        <p:spPr>
          <a:xfrm>
            <a:off x="7943849" y="2277457"/>
            <a:ext cx="1924051" cy="330864"/>
          </a:xfrm>
          <a:prstGeom prst="rect">
            <a:avLst/>
          </a:prstGeom>
        </p:spPr>
        <p:txBody>
          <a:bodyPr/>
          <a:lstStyle>
            <a:lvl1pPr marL="0" indent="0" algn="ctr">
              <a:buFontTx/>
              <a:buNone/>
              <a:defRPr lang="de-DE" sz="2000" b="1" kern="1200" baseline="0" dirty="0" smtClean="0">
                <a:solidFill>
                  <a:srgbClr val="002B6A"/>
                </a:solidFill>
                <a:latin typeface="Roboto Cn" pitchFamily="2" charset="0"/>
                <a:ea typeface="Roboto Cn" pitchFamily="2" charset="0"/>
                <a:cs typeface="+mn-cs"/>
              </a:defRPr>
            </a:lvl1pPr>
          </a:lstStyle>
          <a:p>
            <a:pPr lvl="0"/>
            <a:r>
              <a:rPr lang="de-DE" dirty="0"/>
              <a:t>Punkt 05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6" hasCustomPrompt="1"/>
          </p:nvPr>
        </p:nvSpPr>
        <p:spPr>
          <a:xfrm>
            <a:off x="2640112" y="3802958"/>
            <a:ext cx="1878659" cy="333279"/>
          </a:xfrm>
          <a:prstGeom prst="rect">
            <a:avLst/>
          </a:prstGeom>
        </p:spPr>
        <p:txBody>
          <a:bodyPr/>
          <a:lstStyle>
            <a:lvl1pPr marL="0" indent="0" algn="ctr">
              <a:buFontTx/>
              <a:buNone/>
              <a:defRPr lang="en-IN" sz="2000" b="1" kern="1200" baseline="0" dirty="0">
                <a:solidFill>
                  <a:schemeClr val="tx1"/>
                </a:solidFill>
                <a:latin typeface="Roboto Cn" pitchFamily="2" charset="0"/>
                <a:ea typeface="Roboto Cn" pitchFamily="2" charset="0"/>
                <a:cs typeface="+mn-cs"/>
              </a:defRPr>
            </a:lvl1pPr>
          </a:lstStyle>
          <a:p>
            <a:r>
              <a:rPr lang="en-US" dirty="0" err="1"/>
              <a:t>Punkt</a:t>
            </a:r>
            <a:r>
              <a:rPr lang="en-US" dirty="0"/>
              <a:t> 02</a:t>
            </a:r>
            <a:endParaRPr lang="en-IN" dirty="0"/>
          </a:p>
        </p:txBody>
      </p:sp>
      <p:sp>
        <p:nvSpPr>
          <p:cNvPr id="20" name="Textplatzhalter 19"/>
          <p:cNvSpPr>
            <a:spLocks noGrp="1"/>
          </p:cNvSpPr>
          <p:nvPr>
            <p:ph type="body" sz="quarter" idx="17" hasCustomPrompt="1"/>
          </p:nvPr>
        </p:nvSpPr>
        <p:spPr>
          <a:xfrm>
            <a:off x="2501071" y="4276575"/>
            <a:ext cx="2160000" cy="1080000"/>
          </a:xfrm>
          <a:prstGeom prst="rect">
            <a:avLst/>
          </a:prstGeom>
        </p:spPr>
        <p:txBody>
          <a:bodyPr/>
          <a:lstStyle>
            <a:lvl1pPr marL="0" indent="0" algn="ctr">
              <a:buFontTx/>
              <a:buNone/>
              <a:defRPr lang="de-DE" sz="1600" kern="1200" baseline="0" dirty="0" smtClean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+mn-cs"/>
              </a:defRPr>
            </a:lvl1pPr>
            <a:lvl2pPr algn="ctr">
              <a:defRPr sz="1600"/>
            </a:lvl2pPr>
            <a:lvl3pPr algn="ctr">
              <a:defRPr sz="1600"/>
            </a:lvl3pPr>
            <a:lvl4pPr algn="ctr">
              <a:defRPr sz="1600"/>
            </a:lvl4pPr>
            <a:lvl5pPr algn="ctr">
              <a:defRPr sz="1600"/>
            </a:lvl5pPr>
          </a:lstStyle>
          <a:p>
            <a:pPr marL="0" lvl="0" indent="0" algn="ctr" defTabSz="914400" rtl="0" eaLnBrk="1" latinLnBrk="0" hangingPunct="1">
              <a:lnSpc>
                <a:spcPts val="2400"/>
              </a:lnSpc>
              <a:spcBef>
                <a:spcPts val="1000"/>
              </a:spcBef>
              <a:buSzPct val="65000"/>
              <a:buFontTx/>
              <a:buNone/>
              <a:tabLst>
                <a:tab pos="1704975" algn="l"/>
              </a:tabLst>
            </a:pP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Zwei- oder dreizeiliger Beispieltext für</a:t>
            </a:r>
            <a:b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</a:b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Information im Kreis</a:t>
            </a:r>
          </a:p>
        </p:txBody>
      </p:sp>
      <p:sp>
        <p:nvSpPr>
          <p:cNvPr id="25" name="Textplatzhalter 24"/>
          <p:cNvSpPr>
            <a:spLocks noGrp="1"/>
          </p:cNvSpPr>
          <p:nvPr>
            <p:ph type="body" sz="quarter" idx="18" hasCustomPrompt="1"/>
          </p:nvPr>
        </p:nvSpPr>
        <p:spPr>
          <a:xfrm>
            <a:off x="6203574" y="3804046"/>
            <a:ext cx="1869142" cy="419459"/>
          </a:xfrm>
          <a:prstGeom prst="rect">
            <a:avLst/>
          </a:prstGeom>
        </p:spPr>
        <p:txBody>
          <a:bodyPr/>
          <a:lstStyle>
            <a:lvl1pPr marL="0" indent="0" algn="ctr">
              <a:buFontTx/>
              <a:buNone/>
              <a:defRPr lang="de-DE" sz="2000" b="1" kern="1200" baseline="0" dirty="0">
                <a:solidFill>
                  <a:schemeClr val="tx1"/>
                </a:solidFill>
                <a:latin typeface="Roboto Cn" pitchFamily="2" charset="0"/>
                <a:ea typeface="Roboto Cn" pitchFamily="2" charset="0"/>
                <a:cs typeface="+mn-cs"/>
              </a:defRPr>
            </a:lvl1pPr>
          </a:lstStyle>
          <a:p>
            <a:pPr lvl="0"/>
            <a:r>
              <a:rPr lang="de-DE" dirty="0"/>
              <a:t>Punkt 04</a:t>
            </a:r>
          </a:p>
        </p:txBody>
      </p:sp>
      <p:sp>
        <p:nvSpPr>
          <p:cNvPr id="29" name="Textplatzhalter 28"/>
          <p:cNvSpPr>
            <a:spLocks noGrp="1"/>
          </p:cNvSpPr>
          <p:nvPr>
            <p:ph type="body" sz="quarter" idx="19" hasCustomPrompt="1"/>
          </p:nvPr>
        </p:nvSpPr>
        <p:spPr>
          <a:xfrm>
            <a:off x="6039934" y="4276800"/>
            <a:ext cx="2160000" cy="1080000"/>
          </a:xfrm>
          <a:prstGeom prst="rect">
            <a:avLst/>
          </a:prstGeom>
        </p:spPr>
        <p:txBody>
          <a:bodyPr/>
          <a:lstStyle>
            <a:lvl1pPr marL="0" indent="0" algn="ctr" defTabSz="914400" rtl="0" eaLnBrk="1" latinLnBrk="0" hangingPunct="1">
              <a:lnSpc>
                <a:spcPts val="2400"/>
              </a:lnSpc>
              <a:spcBef>
                <a:spcPts val="1000"/>
              </a:spcBef>
              <a:buSzPct val="65000"/>
              <a:buFontTx/>
              <a:buNone/>
              <a:tabLst>
                <a:tab pos="1704975" algn="l"/>
              </a:tabLst>
              <a:defRPr lang="de-DE" sz="1600" kern="1200" baseline="0" dirty="0" smtClean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lnSpc>
                <a:spcPts val="2400"/>
              </a:lnSpc>
              <a:spcBef>
                <a:spcPts val="1000"/>
              </a:spcBef>
              <a:buSzPct val="65000"/>
              <a:buFontTx/>
              <a:buNone/>
              <a:tabLst>
                <a:tab pos="1704975" algn="l"/>
              </a:tabLst>
            </a:pP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Zwei- oder dreizeiliger Beispieltext für</a:t>
            </a:r>
            <a:b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</a:br>
            <a:r>
              <a:rPr lang="de-DE" sz="1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Information im Kreis8</a:t>
            </a:r>
          </a:p>
          <a:p>
            <a:pPr marL="0" lvl="0" indent="0" algn="ctr" defTabSz="914400" rtl="0" eaLnBrk="1" latinLnBrk="0" hangingPunct="1">
              <a:lnSpc>
                <a:spcPts val="2400"/>
              </a:lnSpc>
              <a:spcBef>
                <a:spcPts val="1000"/>
              </a:spcBef>
              <a:buSzPct val="65000"/>
              <a:buFontTx/>
              <a:buNone/>
              <a:tabLst>
                <a:tab pos="1704975" algn="l"/>
              </a:tabLst>
            </a:pPr>
            <a:endParaRPr lang="de-DE" sz="1600" dirty="0">
              <a:solidFill>
                <a:schemeClr val="tx1"/>
              </a:solidFill>
              <a:latin typeface="Roboto Condensed" panose="02000000000000000000" pitchFamily="2" charset="0"/>
              <a:ea typeface="Roboto Condensed" panose="02000000000000000000" pitchFamily="2" charset="0"/>
            </a:endParaRPr>
          </a:p>
        </p:txBody>
      </p:sp>
      <p:sp>
        <p:nvSpPr>
          <p:cNvPr id="33" name="Textplatzhalter 32"/>
          <p:cNvSpPr>
            <a:spLocks noGrp="1"/>
          </p:cNvSpPr>
          <p:nvPr>
            <p:ph type="body" sz="quarter" idx="20" hasCustomPrompt="1"/>
          </p:nvPr>
        </p:nvSpPr>
        <p:spPr>
          <a:xfrm>
            <a:off x="7859053" y="2692800"/>
            <a:ext cx="2160000" cy="1080000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ts val="2400"/>
              </a:lnSpc>
              <a:buFontTx/>
              <a:buNone/>
              <a:defRPr sz="1600" baseline="0">
                <a:solidFill>
                  <a:srgbClr val="002B6A"/>
                </a:solidFill>
              </a:defRPr>
            </a:lvl1pPr>
            <a:lvl2pPr>
              <a:defRPr sz="1600">
                <a:solidFill>
                  <a:srgbClr val="002B6A"/>
                </a:solidFill>
              </a:defRPr>
            </a:lvl2pPr>
            <a:lvl3pPr>
              <a:defRPr sz="1600">
                <a:solidFill>
                  <a:srgbClr val="002B6A"/>
                </a:solidFill>
              </a:defRPr>
            </a:lvl3pPr>
            <a:lvl4pPr>
              <a:defRPr sz="1600">
                <a:solidFill>
                  <a:srgbClr val="002B6A"/>
                </a:solidFill>
              </a:defRPr>
            </a:lvl4pPr>
            <a:lvl5pPr>
              <a:defRPr sz="1600">
                <a:solidFill>
                  <a:srgbClr val="002B6A"/>
                </a:solidFill>
              </a:defRPr>
            </a:lvl5pPr>
          </a:lstStyle>
          <a:p>
            <a:pPr lvl="0"/>
            <a:r>
              <a:rPr lang="de-DE" dirty="0"/>
              <a:t>Zwei- oder dreizeiliger Beispieltext für</a:t>
            </a:r>
            <a:br>
              <a:rPr lang="de-DE" dirty="0"/>
            </a:br>
            <a:r>
              <a:rPr lang="de-DE" dirty="0"/>
              <a:t>Information im Kreis</a:t>
            </a:r>
          </a:p>
        </p:txBody>
      </p:sp>
      <p:sp>
        <p:nvSpPr>
          <p:cNvPr id="35" name="Textplatzhalter 34"/>
          <p:cNvSpPr>
            <a:spLocks noGrp="1"/>
          </p:cNvSpPr>
          <p:nvPr>
            <p:ph type="body" sz="quarter" idx="21" hasCustomPrompt="1"/>
          </p:nvPr>
        </p:nvSpPr>
        <p:spPr>
          <a:xfrm>
            <a:off x="4274168" y="2692800"/>
            <a:ext cx="2160000" cy="1080000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ts val="2400"/>
              </a:lnSpc>
              <a:buFontTx/>
              <a:buNone/>
              <a:defRPr lang="de-DE" sz="1600" kern="1200" baseline="0" dirty="0">
                <a:solidFill>
                  <a:srgbClr val="002B6A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+mn-cs"/>
              </a:defRPr>
            </a:lvl1pPr>
          </a:lstStyle>
          <a:p>
            <a:pPr lvl="0"/>
            <a:r>
              <a:rPr lang="de-DE" dirty="0"/>
              <a:t>Zwei- oder dreizeiliger Beispieltext für</a:t>
            </a:r>
            <a:br>
              <a:rPr lang="de-DE" dirty="0"/>
            </a:br>
            <a:r>
              <a:rPr lang="de-DE" dirty="0"/>
              <a:t>Information im Kreis</a:t>
            </a:r>
          </a:p>
        </p:txBody>
      </p:sp>
    </p:spTree>
    <p:extLst>
      <p:ext uri="{BB962C8B-B14F-4D97-AF65-F5344CB8AC3E}">
        <p14:creationId xmlns:p14="http://schemas.microsoft.com/office/powerpoint/2010/main" val="372155307"/>
      </p:ext>
    </p:extLst>
  </p:cSld>
  <p:clrMapOvr>
    <a:masterClrMapping/>
  </p:clrMapOvr>
  <p:extLst>
    <p:ext uri="{DCECCB84-F9BA-43D5-87BE-67443E8EF086}">
      <p15:sldGuideLst xmlns:p15="http://schemas.microsoft.com/office/powerpoint/2012/main" xmlns="">
        <p15:guide id="1" orient="horz" pos="391">
          <p15:clr>
            <a:srgbClr val="FBAE40"/>
          </p15:clr>
        </p15:guide>
        <p15:guide id="3" pos="3840">
          <p15:clr>
            <a:srgbClr val="FBAE40"/>
          </p15:clr>
        </p15:guide>
        <p15:guide id="4" pos="438">
          <p15:clr>
            <a:srgbClr val="FBAE40"/>
          </p15:clr>
        </p15:guide>
        <p15:guide id="5" pos="2593">
          <p15:clr>
            <a:srgbClr val="FBAE40"/>
          </p15:clr>
        </p15:guide>
        <p15:guide id="6" orient="horz" pos="2840" userDrawn="1">
          <p15:clr>
            <a:srgbClr val="FBAE40"/>
          </p15:clr>
        </p15:guide>
        <p15:guide id="7" orient="horz" pos="2568" userDrawn="1">
          <p15:clr>
            <a:srgbClr val="FBAE40"/>
          </p15:clr>
        </p15:guide>
        <p15:guide id="8" pos="4498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Überschrift und Kreise mit Text_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5E8BE331-C93C-4A62-8706-E5CDAF2B355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6000" y="576000"/>
            <a:ext cx="10515600" cy="427877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3200" baseline="0">
                <a:solidFill>
                  <a:srgbClr val="FFFFFF"/>
                </a:solidFill>
                <a:latin typeface="Roboto Medium" panose="02000000000000000000" pitchFamily="2" charset="0"/>
                <a:ea typeface="Roboto Medium" panose="02000000000000000000" pitchFamily="2" charset="0"/>
              </a:defRPr>
            </a:lvl1pPr>
          </a:lstStyle>
          <a:p>
            <a:r>
              <a:rPr lang="en-US" dirty="0" err="1"/>
              <a:t>Hier</a:t>
            </a:r>
            <a:r>
              <a:rPr lang="en-US" dirty="0"/>
              <a:t> </a:t>
            </a:r>
            <a:r>
              <a:rPr lang="en-US" dirty="0" err="1"/>
              <a:t>könnte</a:t>
            </a:r>
            <a:r>
              <a:rPr lang="en-US" dirty="0"/>
              <a:t> </a:t>
            </a:r>
            <a:r>
              <a:rPr lang="en-US" dirty="0" err="1"/>
              <a:t>Ihre</a:t>
            </a:r>
            <a:r>
              <a:rPr lang="en-US" dirty="0"/>
              <a:t> </a:t>
            </a:r>
            <a:r>
              <a:rPr lang="en-US" dirty="0" err="1"/>
              <a:t>Überschrift</a:t>
            </a:r>
            <a:r>
              <a:rPr lang="en-US" dirty="0"/>
              <a:t> </a:t>
            </a:r>
            <a:r>
              <a:rPr lang="en-US" dirty="0" err="1"/>
              <a:t>stehen</a:t>
            </a:r>
            <a:endParaRPr lang="en-IN" dirty="0"/>
          </a:p>
        </p:txBody>
      </p:sp>
      <p:sp>
        <p:nvSpPr>
          <p:cNvPr id="30" name="Freeform: Shape 7696">
            <a:extLst>
              <a:ext uri="{FF2B5EF4-FFF2-40B4-BE49-F238E27FC236}">
                <a16:creationId xmlns:a16="http://schemas.microsoft.com/office/drawing/2014/main" xmlns="" id="{AED0A2A9-C0FF-425A-85E7-C473D81E753E}"/>
              </a:ext>
            </a:extLst>
          </p:cNvPr>
          <p:cNvSpPr/>
          <p:nvPr userDrawn="1"/>
        </p:nvSpPr>
        <p:spPr>
          <a:xfrm rot="4800">
            <a:off x="1475988" y="1390812"/>
            <a:ext cx="2180965" cy="2183910"/>
          </a:xfrm>
          <a:custGeom>
            <a:avLst/>
            <a:gdLst/>
            <a:ahLst/>
            <a:cxnLst>
              <a:cxn ang="3cd4">
                <a:pos x="hc" y="t"/>
              </a:cxn>
              <a:cxn ang="cd2">
                <a:pos x="l" y="vc"/>
              </a:cxn>
              <a:cxn ang="cd4">
                <a:pos x="hc" y="b"/>
              </a:cxn>
              <a:cxn ang="0">
                <a:pos x="r" y="vc"/>
              </a:cxn>
            </a:cxnLst>
            <a:rect l="l" t="t" r="r" b="b"/>
            <a:pathLst>
              <a:path w="742" h="743">
                <a:moveTo>
                  <a:pt x="742" y="372"/>
                </a:moveTo>
                <a:cubicBezTo>
                  <a:pt x="742" y="577"/>
                  <a:pt x="576" y="743"/>
                  <a:pt x="371" y="743"/>
                </a:cubicBezTo>
                <a:cubicBezTo>
                  <a:pt x="166" y="743"/>
                  <a:pt x="0" y="577"/>
                  <a:pt x="0" y="372"/>
                </a:cubicBezTo>
                <a:cubicBezTo>
                  <a:pt x="0" y="166"/>
                  <a:pt x="166" y="0"/>
                  <a:pt x="371" y="0"/>
                </a:cubicBezTo>
                <a:cubicBezTo>
                  <a:pt x="576" y="0"/>
                  <a:pt x="742" y="166"/>
                  <a:pt x="742" y="372"/>
                </a:cubicBezTo>
                <a:close/>
              </a:path>
            </a:pathLst>
          </a:custGeom>
          <a:solidFill>
            <a:schemeClr val="accent1"/>
          </a:solidFill>
          <a:ln cap="flat">
            <a:noFill/>
            <a:prstDash val="solid"/>
          </a:ln>
        </p:spPr>
        <p:txBody>
          <a:bodyPr vert="horz" wrap="none" lIns="45000" tIns="22500" rIns="45000" bIns="22500" anchor="ctr" anchorCtr="1" compatLnSpc="0"/>
          <a:lstStyle/>
          <a:p>
            <a:pPr hangingPunct="0"/>
            <a:endParaRPr lang="en-US" sz="900">
              <a:latin typeface="Arial" pitchFamily="18"/>
              <a:ea typeface="Arial Unicode MS" pitchFamily="2"/>
              <a:cs typeface="Arial Unicode MS" pitchFamily="2"/>
            </a:endParaRPr>
          </a:p>
        </p:txBody>
      </p:sp>
      <p:sp>
        <p:nvSpPr>
          <p:cNvPr id="39" name="Freeform: Shape 7697">
            <a:extLst>
              <a:ext uri="{FF2B5EF4-FFF2-40B4-BE49-F238E27FC236}">
                <a16:creationId xmlns:a16="http://schemas.microsoft.com/office/drawing/2014/main" xmlns="" id="{1B42B810-7961-498C-AC7E-4889B1F69F81}"/>
              </a:ext>
            </a:extLst>
          </p:cNvPr>
          <p:cNvSpPr/>
          <p:nvPr userDrawn="1"/>
        </p:nvSpPr>
        <p:spPr>
          <a:xfrm rot="4800">
            <a:off x="3274120" y="2866510"/>
            <a:ext cx="2183908" cy="2183910"/>
          </a:xfrm>
          <a:custGeom>
            <a:avLst/>
            <a:gdLst/>
            <a:ahLst/>
            <a:cxnLst>
              <a:cxn ang="3cd4">
                <a:pos x="hc" y="t"/>
              </a:cxn>
              <a:cxn ang="cd2">
                <a:pos x="l" y="vc"/>
              </a:cxn>
              <a:cxn ang="cd4">
                <a:pos x="hc" y="b"/>
              </a:cxn>
              <a:cxn ang="0">
                <a:pos x="r" y="vc"/>
              </a:cxn>
            </a:cxnLst>
            <a:rect l="l" t="t" r="r" b="b"/>
            <a:pathLst>
              <a:path w="743" h="743">
                <a:moveTo>
                  <a:pt x="743" y="372"/>
                </a:moveTo>
                <a:cubicBezTo>
                  <a:pt x="743" y="577"/>
                  <a:pt x="576" y="743"/>
                  <a:pt x="371" y="743"/>
                </a:cubicBezTo>
                <a:cubicBezTo>
                  <a:pt x="166" y="743"/>
                  <a:pt x="0" y="577"/>
                  <a:pt x="0" y="372"/>
                </a:cubicBezTo>
                <a:cubicBezTo>
                  <a:pt x="0" y="167"/>
                  <a:pt x="166" y="0"/>
                  <a:pt x="371" y="0"/>
                </a:cubicBezTo>
                <a:cubicBezTo>
                  <a:pt x="576" y="0"/>
                  <a:pt x="743" y="167"/>
                  <a:pt x="743" y="372"/>
                </a:cubicBezTo>
                <a:close/>
              </a:path>
            </a:pathLst>
          </a:custGeom>
          <a:solidFill>
            <a:schemeClr val="accent2"/>
          </a:solidFill>
          <a:ln cap="flat">
            <a:noFill/>
            <a:prstDash val="solid"/>
          </a:ln>
        </p:spPr>
        <p:txBody>
          <a:bodyPr vert="horz" wrap="none" lIns="45000" tIns="22500" rIns="45000" bIns="22500" anchor="ctr" anchorCtr="1" compatLnSpc="0"/>
          <a:lstStyle/>
          <a:p>
            <a:pPr hangingPunct="0"/>
            <a:endParaRPr lang="en-US" sz="900">
              <a:latin typeface="Arial" pitchFamily="18"/>
              <a:ea typeface="Arial Unicode MS" pitchFamily="2"/>
              <a:cs typeface="Arial Unicode MS" pitchFamily="2"/>
            </a:endParaRPr>
          </a:p>
        </p:txBody>
      </p:sp>
      <p:sp>
        <p:nvSpPr>
          <p:cNvPr id="40" name="Freeform: Shape 7698">
            <a:extLst>
              <a:ext uri="{FF2B5EF4-FFF2-40B4-BE49-F238E27FC236}">
                <a16:creationId xmlns:a16="http://schemas.microsoft.com/office/drawing/2014/main" xmlns="" id="{61127368-4AD3-43B8-A22F-223254E28EAB}"/>
              </a:ext>
            </a:extLst>
          </p:cNvPr>
          <p:cNvSpPr/>
          <p:nvPr userDrawn="1"/>
        </p:nvSpPr>
        <p:spPr>
          <a:xfrm rot="4800">
            <a:off x="5047218" y="1386438"/>
            <a:ext cx="2183908" cy="2183910"/>
          </a:xfrm>
          <a:custGeom>
            <a:avLst/>
            <a:gdLst/>
            <a:ahLst/>
            <a:cxnLst>
              <a:cxn ang="3cd4">
                <a:pos x="hc" y="t"/>
              </a:cxn>
              <a:cxn ang="cd2">
                <a:pos x="l" y="vc"/>
              </a:cxn>
              <a:cxn ang="cd4">
                <a:pos x="hc" y="b"/>
              </a:cxn>
              <a:cxn ang="0">
                <a:pos x="r" y="vc"/>
              </a:cxn>
            </a:cxnLst>
            <a:rect l="l" t="t" r="r" b="b"/>
            <a:pathLst>
              <a:path w="743" h="743">
                <a:moveTo>
                  <a:pt x="743" y="371"/>
                </a:moveTo>
                <a:cubicBezTo>
                  <a:pt x="743" y="576"/>
                  <a:pt x="576" y="743"/>
                  <a:pt x="371" y="743"/>
                </a:cubicBezTo>
                <a:cubicBezTo>
                  <a:pt x="166" y="743"/>
                  <a:pt x="0" y="576"/>
                  <a:pt x="0" y="371"/>
                </a:cubicBezTo>
                <a:cubicBezTo>
                  <a:pt x="0" y="166"/>
                  <a:pt x="166" y="0"/>
                  <a:pt x="371" y="0"/>
                </a:cubicBezTo>
                <a:cubicBezTo>
                  <a:pt x="576" y="0"/>
                  <a:pt x="743" y="166"/>
                  <a:pt x="743" y="371"/>
                </a:cubicBezTo>
                <a:close/>
              </a:path>
            </a:pathLst>
          </a:custGeom>
          <a:solidFill>
            <a:schemeClr val="accent3"/>
          </a:solidFill>
          <a:ln cap="flat">
            <a:noFill/>
            <a:prstDash val="solid"/>
          </a:ln>
        </p:spPr>
        <p:txBody>
          <a:bodyPr vert="horz" wrap="none" lIns="45000" tIns="22500" rIns="45000" bIns="22500" anchor="ctr" anchorCtr="1" compatLnSpc="0"/>
          <a:lstStyle/>
          <a:p>
            <a:pPr hangingPunct="0"/>
            <a:endParaRPr lang="en-US" sz="900">
              <a:latin typeface="Arial" pitchFamily="18"/>
              <a:ea typeface="Arial Unicode MS" pitchFamily="2"/>
              <a:cs typeface="Arial Unicode MS" pitchFamily="2"/>
            </a:endParaRPr>
          </a:p>
        </p:txBody>
      </p:sp>
      <p:sp>
        <p:nvSpPr>
          <p:cNvPr id="41" name="Freeform: Shape 7699">
            <a:extLst>
              <a:ext uri="{FF2B5EF4-FFF2-40B4-BE49-F238E27FC236}">
                <a16:creationId xmlns:a16="http://schemas.microsoft.com/office/drawing/2014/main" xmlns="" id="{D0B4A9D3-CF8E-4E24-85A6-D88E5209581F}"/>
              </a:ext>
            </a:extLst>
          </p:cNvPr>
          <p:cNvSpPr/>
          <p:nvPr userDrawn="1"/>
        </p:nvSpPr>
        <p:spPr>
          <a:xfrm rot="4800">
            <a:off x="6812982" y="2862096"/>
            <a:ext cx="2183908" cy="2183910"/>
          </a:xfrm>
          <a:custGeom>
            <a:avLst/>
            <a:gdLst/>
            <a:ahLst/>
            <a:cxnLst>
              <a:cxn ang="3cd4">
                <a:pos x="hc" y="t"/>
              </a:cxn>
              <a:cxn ang="cd2">
                <a:pos x="l" y="vc"/>
              </a:cxn>
              <a:cxn ang="cd4">
                <a:pos x="hc" y="b"/>
              </a:cxn>
              <a:cxn ang="0">
                <a:pos x="r" y="vc"/>
              </a:cxn>
            </a:cxnLst>
            <a:rect l="l" t="t" r="r" b="b"/>
            <a:pathLst>
              <a:path w="743" h="743">
                <a:moveTo>
                  <a:pt x="743" y="371"/>
                </a:moveTo>
                <a:cubicBezTo>
                  <a:pt x="743" y="576"/>
                  <a:pt x="577" y="743"/>
                  <a:pt x="372" y="743"/>
                </a:cubicBezTo>
                <a:cubicBezTo>
                  <a:pt x="166" y="743"/>
                  <a:pt x="0" y="576"/>
                  <a:pt x="0" y="371"/>
                </a:cubicBezTo>
                <a:cubicBezTo>
                  <a:pt x="0" y="166"/>
                  <a:pt x="166" y="0"/>
                  <a:pt x="372" y="0"/>
                </a:cubicBezTo>
                <a:cubicBezTo>
                  <a:pt x="577" y="0"/>
                  <a:pt x="743" y="166"/>
                  <a:pt x="743" y="371"/>
                </a:cubicBezTo>
                <a:close/>
              </a:path>
            </a:pathLst>
          </a:custGeom>
          <a:solidFill>
            <a:schemeClr val="accent4"/>
          </a:solidFill>
          <a:ln cap="flat">
            <a:noFill/>
            <a:prstDash val="solid"/>
          </a:ln>
        </p:spPr>
        <p:txBody>
          <a:bodyPr vert="horz" wrap="none" lIns="45000" tIns="22500" rIns="45000" bIns="22500" anchor="ctr" anchorCtr="1" compatLnSpc="0"/>
          <a:lstStyle/>
          <a:p>
            <a:pPr hangingPunct="0"/>
            <a:endParaRPr lang="en-US" sz="900">
              <a:latin typeface="Arial" pitchFamily="18"/>
              <a:ea typeface="Arial Unicode MS" pitchFamily="2"/>
              <a:cs typeface="Arial Unicode MS" pitchFamily="2"/>
            </a:endParaRPr>
          </a:p>
        </p:txBody>
      </p:sp>
      <p:sp>
        <p:nvSpPr>
          <p:cNvPr id="42" name="Freeform: Shape 7700">
            <a:extLst>
              <a:ext uri="{FF2B5EF4-FFF2-40B4-BE49-F238E27FC236}">
                <a16:creationId xmlns:a16="http://schemas.microsoft.com/office/drawing/2014/main" xmlns="" id="{19001E2D-86C3-4FEE-A0C4-A201ED67C57E}"/>
              </a:ext>
            </a:extLst>
          </p:cNvPr>
          <p:cNvSpPr/>
          <p:nvPr userDrawn="1"/>
        </p:nvSpPr>
        <p:spPr>
          <a:xfrm rot="4800">
            <a:off x="8586080" y="1379072"/>
            <a:ext cx="2183908" cy="2183910"/>
          </a:xfrm>
          <a:custGeom>
            <a:avLst/>
            <a:gdLst/>
            <a:ahLst/>
            <a:cxnLst>
              <a:cxn ang="3cd4">
                <a:pos x="hc" y="t"/>
              </a:cxn>
              <a:cxn ang="cd2">
                <a:pos x="l" y="vc"/>
              </a:cxn>
              <a:cxn ang="cd4">
                <a:pos x="hc" y="b"/>
              </a:cxn>
              <a:cxn ang="0">
                <a:pos x="r" y="vc"/>
              </a:cxn>
            </a:cxnLst>
            <a:rect l="l" t="t" r="r" b="b"/>
            <a:pathLst>
              <a:path w="743" h="743">
                <a:moveTo>
                  <a:pt x="743" y="371"/>
                </a:moveTo>
                <a:cubicBezTo>
                  <a:pt x="743" y="577"/>
                  <a:pt x="576" y="743"/>
                  <a:pt x="371" y="743"/>
                </a:cubicBezTo>
                <a:cubicBezTo>
                  <a:pt x="166" y="743"/>
                  <a:pt x="0" y="577"/>
                  <a:pt x="0" y="371"/>
                </a:cubicBezTo>
                <a:cubicBezTo>
                  <a:pt x="0" y="166"/>
                  <a:pt x="166" y="0"/>
                  <a:pt x="371" y="0"/>
                </a:cubicBezTo>
                <a:cubicBezTo>
                  <a:pt x="576" y="0"/>
                  <a:pt x="743" y="166"/>
                  <a:pt x="743" y="371"/>
                </a:cubicBezTo>
                <a:close/>
              </a:path>
            </a:pathLst>
          </a:custGeom>
          <a:solidFill>
            <a:schemeClr val="accent5"/>
          </a:solidFill>
          <a:ln cap="flat">
            <a:noFill/>
            <a:prstDash val="solid"/>
          </a:ln>
        </p:spPr>
        <p:txBody>
          <a:bodyPr vert="horz" wrap="none" lIns="45000" tIns="22500" rIns="45000" bIns="22500" anchor="ctr" anchorCtr="1" compatLnSpc="0"/>
          <a:lstStyle/>
          <a:p>
            <a:pPr hangingPunct="0"/>
            <a:endParaRPr lang="en-US" sz="900">
              <a:latin typeface="Arial" pitchFamily="18"/>
              <a:ea typeface="Arial Unicode MS" pitchFamily="2"/>
              <a:cs typeface="Arial Unicode MS" pitchFamily="2"/>
            </a:endParaRPr>
          </a:p>
        </p:txBody>
      </p:sp>
      <p:sp>
        <p:nvSpPr>
          <p:cNvPr id="53" name="Freeform: Shape 7696">
            <a:extLst>
              <a:ext uri="{FF2B5EF4-FFF2-40B4-BE49-F238E27FC236}">
                <a16:creationId xmlns:a16="http://schemas.microsoft.com/office/drawing/2014/main" xmlns="" id="{9E7F71B6-D4E1-4228-912E-3E199AA8C52F}"/>
              </a:ext>
            </a:extLst>
          </p:cNvPr>
          <p:cNvSpPr/>
          <p:nvPr userDrawn="1"/>
        </p:nvSpPr>
        <p:spPr>
          <a:xfrm rot="4800">
            <a:off x="1473834" y="4341022"/>
            <a:ext cx="2180965" cy="2183910"/>
          </a:xfrm>
          <a:custGeom>
            <a:avLst/>
            <a:gdLst/>
            <a:ahLst/>
            <a:cxnLst>
              <a:cxn ang="3cd4">
                <a:pos x="hc" y="t"/>
              </a:cxn>
              <a:cxn ang="cd2">
                <a:pos x="l" y="vc"/>
              </a:cxn>
              <a:cxn ang="cd4">
                <a:pos x="hc" y="b"/>
              </a:cxn>
              <a:cxn ang="0">
                <a:pos x="r" y="vc"/>
              </a:cxn>
            </a:cxnLst>
            <a:rect l="l" t="t" r="r" b="b"/>
            <a:pathLst>
              <a:path w="742" h="743">
                <a:moveTo>
                  <a:pt x="742" y="372"/>
                </a:moveTo>
                <a:cubicBezTo>
                  <a:pt x="742" y="577"/>
                  <a:pt x="576" y="743"/>
                  <a:pt x="371" y="743"/>
                </a:cubicBezTo>
                <a:cubicBezTo>
                  <a:pt x="166" y="743"/>
                  <a:pt x="0" y="577"/>
                  <a:pt x="0" y="372"/>
                </a:cubicBezTo>
                <a:cubicBezTo>
                  <a:pt x="0" y="166"/>
                  <a:pt x="166" y="0"/>
                  <a:pt x="371" y="0"/>
                </a:cubicBezTo>
                <a:cubicBezTo>
                  <a:pt x="576" y="0"/>
                  <a:pt x="742" y="166"/>
                  <a:pt x="742" y="372"/>
                </a:cubicBezTo>
                <a:close/>
              </a:path>
            </a:pathLst>
          </a:custGeom>
          <a:solidFill>
            <a:srgbClr val="CCECF9"/>
          </a:solidFill>
          <a:ln cap="flat">
            <a:noFill/>
            <a:prstDash val="solid"/>
          </a:ln>
        </p:spPr>
        <p:txBody>
          <a:bodyPr vert="horz" wrap="none" lIns="45000" tIns="22500" rIns="45000" bIns="22500" anchor="ctr" anchorCtr="1" compatLnSpc="0"/>
          <a:lstStyle/>
          <a:p>
            <a:pPr hangingPunct="0"/>
            <a:endParaRPr lang="en-US" sz="900" dirty="0">
              <a:latin typeface="Arial" pitchFamily="18"/>
              <a:ea typeface="Arial Unicode MS" pitchFamily="2"/>
              <a:cs typeface="Arial Unicode MS" pitchFamily="2"/>
            </a:endParaRPr>
          </a:p>
        </p:txBody>
      </p:sp>
      <p:sp>
        <p:nvSpPr>
          <p:cNvPr id="54" name="Freeform: Shape 7698">
            <a:extLst>
              <a:ext uri="{FF2B5EF4-FFF2-40B4-BE49-F238E27FC236}">
                <a16:creationId xmlns:a16="http://schemas.microsoft.com/office/drawing/2014/main" xmlns="" id="{ED77EC34-271B-42AF-9525-6152F78CBB42}"/>
              </a:ext>
            </a:extLst>
          </p:cNvPr>
          <p:cNvSpPr/>
          <p:nvPr userDrawn="1"/>
        </p:nvSpPr>
        <p:spPr>
          <a:xfrm rot="4800">
            <a:off x="5045064" y="4336648"/>
            <a:ext cx="2183908" cy="2183910"/>
          </a:xfrm>
          <a:custGeom>
            <a:avLst/>
            <a:gdLst/>
            <a:ahLst/>
            <a:cxnLst>
              <a:cxn ang="3cd4">
                <a:pos x="hc" y="t"/>
              </a:cxn>
              <a:cxn ang="cd2">
                <a:pos x="l" y="vc"/>
              </a:cxn>
              <a:cxn ang="cd4">
                <a:pos x="hc" y="b"/>
              </a:cxn>
              <a:cxn ang="0">
                <a:pos x="r" y="vc"/>
              </a:cxn>
            </a:cxnLst>
            <a:rect l="l" t="t" r="r" b="b"/>
            <a:pathLst>
              <a:path w="743" h="743">
                <a:moveTo>
                  <a:pt x="743" y="371"/>
                </a:moveTo>
                <a:cubicBezTo>
                  <a:pt x="743" y="576"/>
                  <a:pt x="576" y="743"/>
                  <a:pt x="371" y="743"/>
                </a:cubicBezTo>
                <a:cubicBezTo>
                  <a:pt x="166" y="743"/>
                  <a:pt x="0" y="576"/>
                  <a:pt x="0" y="371"/>
                </a:cubicBezTo>
                <a:cubicBezTo>
                  <a:pt x="0" y="166"/>
                  <a:pt x="166" y="0"/>
                  <a:pt x="371" y="0"/>
                </a:cubicBezTo>
                <a:cubicBezTo>
                  <a:pt x="576" y="0"/>
                  <a:pt x="743" y="166"/>
                  <a:pt x="743" y="371"/>
                </a:cubicBezTo>
                <a:close/>
              </a:path>
            </a:pathLst>
          </a:custGeom>
          <a:solidFill>
            <a:srgbClr val="142F4E"/>
          </a:solidFill>
          <a:ln cap="flat">
            <a:noFill/>
            <a:prstDash val="solid"/>
          </a:ln>
        </p:spPr>
        <p:txBody>
          <a:bodyPr vert="horz" wrap="none" lIns="45000" tIns="22500" rIns="45000" bIns="22500" anchor="ctr" anchorCtr="1" compatLnSpc="0"/>
          <a:lstStyle/>
          <a:p>
            <a:pPr hangingPunct="0"/>
            <a:endParaRPr lang="en-US" sz="900">
              <a:latin typeface="Arial" pitchFamily="18"/>
              <a:ea typeface="Arial Unicode MS" pitchFamily="2"/>
              <a:cs typeface="Arial Unicode MS" pitchFamily="2"/>
            </a:endParaRPr>
          </a:p>
        </p:txBody>
      </p:sp>
      <p:sp>
        <p:nvSpPr>
          <p:cNvPr id="55" name="Freeform: Shape 7700">
            <a:extLst>
              <a:ext uri="{FF2B5EF4-FFF2-40B4-BE49-F238E27FC236}">
                <a16:creationId xmlns:a16="http://schemas.microsoft.com/office/drawing/2014/main" xmlns="" id="{70A31753-C7F5-4A9F-AF88-47CE52C9AA2B}"/>
              </a:ext>
            </a:extLst>
          </p:cNvPr>
          <p:cNvSpPr/>
          <p:nvPr userDrawn="1"/>
        </p:nvSpPr>
        <p:spPr>
          <a:xfrm rot="4800">
            <a:off x="8583926" y="4329282"/>
            <a:ext cx="2183908" cy="2183910"/>
          </a:xfrm>
          <a:custGeom>
            <a:avLst/>
            <a:gdLst/>
            <a:ahLst/>
            <a:cxnLst>
              <a:cxn ang="3cd4">
                <a:pos x="hc" y="t"/>
              </a:cxn>
              <a:cxn ang="cd2">
                <a:pos x="l" y="vc"/>
              </a:cxn>
              <a:cxn ang="cd4">
                <a:pos x="hc" y="b"/>
              </a:cxn>
              <a:cxn ang="0">
                <a:pos x="r" y="vc"/>
              </a:cxn>
            </a:cxnLst>
            <a:rect l="l" t="t" r="r" b="b"/>
            <a:pathLst>
              <a:path w="743" h="743">
                <a:moveTo>
                  <a:pt x="743" y="371"/>
                </a:moveTo>
                <a:cubicBezTo>
                  <a:pt x="743" y="577"/>
                  <a:pt x="576" y="743"/>
                  <a:pt x="371" y="743"/>
                </a:cubicBezTo>
                <a:cubicBezTo>
                  <a:pt x="166" y="743"/>
                  <a:pt x="0" y="577"/>
                  <a:pt x="0" y="371"/>
                </a:cubicBezTo>
                <a:cubicBezTo>
                  <a:pt x="0" y="166"/>
                  <a:pt x="166" y="0"/>
                  <a:pt x="371" y="0"/>
                </a:cubicBezTo>
                <a:cubicBezTo>
                  <a:pt x="576" y="0"/>
                  <a:pt x="743" y="166"/>
                  <a:pt x="743" y="371"/>
                </a:cubicBezTo>
                <a:close/>
              </a:path>
            </a:pathLst>
          </a:custGeom>
          <a:solidFill>
            <a:srgbClr val="E1D6BC"/>
          </a:solidFill>
          <a:ln cap="flat">
            <a:noFill/>
            <a:prstDash val="solid"/>
          </a:ln>
        </p:spPr>
        <p:txBody>
          <a:bodyPr vert="horz" wrap="none" lIns="45000" tIns="22500" rIns="45000" bIns="22500" anchor="ctr" anchorCtr="1" compatLnSpc="0"/>
          <a:lstStyle/>
          <a:p>
            <a:pPr hangingPunct="0"/>
            <a:endParaRPr lang="en-US" sz="900">
              <a:latin typeface="Arial" pitchFamily="18"/>
              <a:ea typeface="Arial Unicode MS" pitchFamily="2"/>
              <a:cs typeface="Arial Unicode MS" pitchFamily="2"/>
            </a:endParaRPr>
          </a:p>
        </p:txBody>
      </p:sp>
    </p:spTree>
    <p:extLst>
      <p:ext uri="{BB962C8B-B14F-4D97-AF65-F5344CB8AC3E}">
        <p14:creationId xmlns:p14="http://schemas.microsoft.com/office/powerpoint/2010/main" val="2151107548"/>
      </p:ext>
    </p:extLst>
  </p:cSld>
  <p:clrMapOvr>
    <a:masterClrMapping/>
  </p:clrMapOvr>
  <p:extLst>
    <p:ext uri="{DCECCB84-F9BA-43D5-87BE-67443E8EF086}">
      <p15:sldGuideLst xmlns:p15="http://schemas.microsoft.com/office/powerpoint/2012/main" xmlns="">
        <p15:guide id="1" orient="horz" pos="391">
          <p15:clr>
            <a:srgbClr val="FBAE40"/>
          </p15:clr>
        </p15:guide>
        <p15:guide id="3" pos="3840">
          <p15:clr>
            <a:srgbClr val="FBAE40"/>
          </p15:clr>
        </p15:guide>
        <p15:guide id="4" pos="438">
          <p15:clr>
            <a:srgbClr val="FBAE40"/>
          </p15:clr>
        </p15:guide>
        <p15:guide id="5" pos="2593">
          <p15:clr>
            <a:srgbClr val="FBAE40"/>
          </p15:clr>
        </p15:guide>
        <p15:guide id="6" orient="horz" pos="2840">
          <p15:clr>
            <a:srgbClr val="FBAE40"/>
          </p15:clr>
        </p15:guide>
        <p15:guide id="7" orient="horz" pos="2568">
          <p15:clr>
            <a:srgbClr val="FBAE40"/>
          </p15:clr>
        </p15:guide>
        <p15:guide id="8" pos="4498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image" Target="../media/image1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A1E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2C1433B3-2284-4207-BA6D-EED46F1A8A8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97545" y="6412956"/>
            <a:ext cx="118397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latin typeface="Roboto Condensed" panose="02000000000000000000" pitchFamily="2" charset="0"/>
                <a:ea typeface="Roboto Condensed" panose="02000000000000000000" pitchFamily="2" charset="0"/>
              </a:defRPr>
            </a:lvl1pPr>
          </a:lstStyle>
          <a:p>
            <a:fld id="{2A1110BE-A5D8-4C06-9CB1-4FB89613DA60}" type="datetimeFigureOut">
              <a:rPr lang="en-IN" smtClean="0"/>
              <a:pPr/>
              <a:t>28-09-2021</a:t>
            </a:fld>
            <a:endParaRPr lang="en-IN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F96705ED-A37F-4FB2-9113-3C897B2E2B3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0374" y="6412955"/>
            <a:ext cx="567352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  <a:latin typeface="Roboto Condensed" panose="02000000000000000000" pitchFamily="2" charset="0"/>
                <a:ea typeface="Roboto Condensed" panose="02000000000000000000" pitchFamily="2" charset="0"/>
              </a:defRPr>
            </a:lvl1pPr>
          </a:lstStyle>
          <a:p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BB3A24B2-ADB8-40DD-85BF-4078676B523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552748" y="6412954"/>
            <a:ext cx="143581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Roboto Condensed" panose="02000000000000000000" pitchFamily="2" charset="0"/>
                <a:ea typeface="Roboto Condensed" panose="02000000000000000000" pitchFamily="2" charset="0"/>
              </a:defRPr>
            </a:lvl1pPr>
          </a:lstStyle>
          <a:p>
            <a:fld id="{9E72AEF7-1C8C-4F27-9F91-265614AC2E4C}" type="slidenum">
              <a:rPr lang="en-IN" smtClean="0"/>
              <a:pPr/>
              <a:t>‹Nr.›</a:t>
            </a:fld>
            <a:endParaRPr lang="en-IN" dirty="0"/>
          </a:p>
        </p:txBody>
      </p:sp>
      <p:pic>
        <p:nvPicPr>
          <p:cNvPr id="8" name="Grafik 7"/>
          <p:cNvPicPr>
            <a:picLocks noChangeAspect="1"/>
          </p:cNvPicPr>
          <p:nvPr userDrawn="1"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84092" y="5834819"/>
            <a:ext cx="1026908" cy="7040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06824195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49" r:id="rId1"/>
    <p:sldLayoutId id="2147483671" r:id="rId2"/>
    <p:sldLayoutId id="2147483650" r:id="rId3"/>
    <p:sldLayoutId id="2147483655" r:id="rId4"/>
    <p:sldLayoutId id="2147483656" r:id="rId5"/>
    <p:sldLayoutId id="2147483657" r:id="rId6"/>
    <p:sldLayoutId id="2147483664" r:id="rId7"/>
    <p:sldLayoutId id="2147483661" r:id="rId8"/>
    <p:sldLayoutId id="2147483672" r:id="rId9"/>
    <p:sldLayoutId id="2147483667" r:id="rId10"/>
    <p:sldLayoutId id="2147483680" r:id="rId11"/>
    <p:sldLayoutId id="2147483663" r:id="rId12"/>
    <p:sldLayoutId id="2147483679" r:id="rId13"/>
    <p:sldLayoutId id="2147483681" r:id="rId14"/>
    <p:sldLayoutId id="2147483673" r:id="rId15"/>
    <p:sldLayoutId id="2147483665" r:id="rId16"/>
    <p:sldLayoutId id="2147483666" r:id="rId17"/>
    <p:sldLayoutId id="2147483659" r:id="rId18"/>
    <p:sldLayoutId id="2147483662" r:id="rId19"/>
    <p:sldLayoutId id="2147483682" r:id="rId20"/>
    <p:sldLayoutId id="2147483683" r:id="rId21"/>
    <p:sldLayoutId id="2147483684" r:id="rId22"/>
    <p:sldLayoutId id="2147483670" r:id="rId23"/>
    <p:sldLayoutId id="2147483686" r:id="rId24"/>
    <p:sldLayoutId id="2147483687" r:id="rId25"/>
    <p:sldLayoutId id="2147483653" r:id="rId26"/>
    <p:sldLayoutId id="2147483674" r:id="rId27"/>
    <p:sldLayoutId id="2147483675" r:id="rId28"/>
    <p:sldLayoutId id="2147483676" r:id="rId29"/>
    <p:sldLayoutId id="2147483654" r:id="rId30"/>
    <p:sldLayoutId id="2147483677" r:id="rId31"/>
    <p:sldLayoutId id="2147483678" r:id="rId32"/>
    <p:sldLayoutId id="2147483658" r:id="rId33"/>
    <p:sldLayoutId id="2147483660" r:id="rId34"/>
    <p:sldLayoutId id="2147483685" r:id="rId35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 baseline="0">
          <a:solidFill>
            <a:srgbClr val="FFFFFF"/>
          </a:solidFill>
          <a:latin typeface="Roboto Condensed" panose="02000000000000000000" pitchFamily="2" charset="0"/>
          <a:ea typeface="Roboto Condensed" panose="02000000000000000000" pitchFamily="2" charset="0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rgbClr val="FFFFFF"/>
          </a:solidFill>
          <a:latin typeface="Roboto Condensed" panose="02000000000000000000" pitchFamily="2" charset="0"/>
          <a:ea typeface="Roboto Condensed" panose="02000000000000000000" pitchFamily="2" charset="0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rgbClr val="FFFFFF"/>
          </a:solidFill>
          <a:latin typeface="Roboto Condensed" panose="02000000000000000000" pitchFamily="2" charset="0"/>
          <a:ea typeface="Roboto Condensed" panose="02000000000000000000" pitchFamily="2" charset="0"/>
          <a:cs typeface="+mn-cs"/>
        </a:defRPr>
      </a:lvl2pPr>
      <a:lvl3pPr marL="914400" marR="0" indent="0" algn="l" defTabSz="914400" rtl="0" eaLnBrk="1" fontAlgn="auto" latinLnBrk="0" hangingPunct="1">
        <a:lnSpc>
          <a:spcPct val="90000"/>
        </a:lnSpc>
        <a:spcBef>
          <a:spcPts val="500"/>
        </a:spcBef>
        <a:spcAft>
          <a:spcPts val="0"/>
        </a:spcAft>
        <a:buClrTx/>
        <a:buSzTx/>
        <a:buFont typeface="Arial" panose="020B0604020202020204" pitchFamily="34" charset="0"/>
        <a:buNone/>
        <a:tabLst/>
        <a:defRPr sz="2000" kern="1200">
          <a:solidFill>
            <a:srgbClr val="FFFFFF"/>
          </a:solidFill>
          <a:latin typeface="Roboto Condensed" panose="02000000000000000000" pitchFamily="2" charset="0"/>
          <a:ea typeface="Roboto Condensed" panose="02000000000000000000" pitchFamily="2" charset="0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rgbClr val="FFFFFF"/>
          </a:solidFill>
          <a:latin typeface="Roboto Condensed" panose="02000000000000000000" pitchFamily="2" charset="0"/>
          <a:ea typeface="Roboto Condensed" panose="02000000000000000000" pitchFamily="2" charset="0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rgbClr val="FFFFFF"/>
          </a:solidFill>
          <a:latin typeface="Roboto Condensed" panose="02000000000000000000" pitchFamily="2" charset="0"/>
          <a:ea typeface="Roboto Condensed" panose="02000000000000000000" pitchFamily="2" charset="0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 xmlns="">
        <p15:guide id="1" orient="horz" pos="391" userDrawn="1">
          <p15:clr>
            <a:srgbClr val="F26B43"/>
          </p15:clr>
        </p15:guide>
        <p15:guide id="2" pos="438" userDrawn="1">
          <p15:clr>
            <a:srgbClr val="F26B43"/>
          </p15:clr>
        </p15:guide>
        <p15:guide id="3" orient="horz" pos="411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7.xml"/><Relationship Id="rId7" Type="http://schemas.openxmlformats.org/officeDocument/2006/relationships/image" Target="../media/image8.png"/><Relationship Id="rId2" Type="http://schemas.openxmlformats.org/officeDocument/2006/relationships/audio" Target="../media/media1.wav"/><Relationship Id="rId1" Type="http://schemas.microsoft.com/office/2007/relationships/media" Target="../media/media1.wav"/><Relationship Id="rId6" Type="http://schemas.openxmlformats.org/officeDocument/2006/relationships/image" Target="../media/image7.png"/><Relationship Id="rId5" Type="http://schemas.openxmlformats.org/officeDocument/2006/relationships/image" Target="../media/image3.png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7.xml"/><Relationship Id="rId2" Type="http://schemas.openxmlformats.org/officeDocument/2006/relationships/audio" Target="../media/media10.wav"/><Relationship Id="rId1" Type="http://schemas.microsoft.com/office/2007/relationships/media" Target="../media/media10.wav"/><Relationship Id="rId5" Type="http://schemas.openxmlformats.org/officeDocument/2006/relationships/image" Target="../media/image8.png"/><Relationship Id="rId4" Type="http://schemas.openxmlformats.org/officeDocument/2006/relationships/image" Target="../media/image3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7.xml"/><Relationship Id="rId2" Type="http://schemas.openxmlformats.org/officeDocument/2006/relationships/audio" Target="../media/media11.wav"/><Relationship Id="rId1" Type="http://schemas.microsoft.com/office/2007/relationships/media" Target="../media/media11.wav"/><Relationship Id="rId5" Type="http://schemas.openxmlformats.org/officeDocument/2006/relationships/image" Target="../media/image8.png"/><Relationship Id="rId4" Type="http://schemas.openxmlformats.org/officeDocument/2006/relationships/image" Target="../media/image3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7.xml"/><Relationship Id="rId2" Type="http://schemas.openxmlformats.org/officeDocument/2006/relationships/audio" Target="../media/media12.wav"/><Relationship Id="rId1" Type="http://schemas.microsoft.com/office/2007/relationships/media" Target="../media/media12.wav"/><Relationship Id="rId5" Type="http://schemas.openxmlformats.org/officeDocument/2006/relationships/image" Target="../media/image8.png"/><Relationship Id="rId4" Type="http://schemas.openxmlformats.org/officeDocument/2006/relationships/image" Target="../media/image3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7.xml"/><Relationship Id="rId2" Type="http://schemas.openxmlformats.org/officeDocument/2006/relationships/audio" Target="../media/media13.wav"/><Relationship Id="rId1" Type="http://schemas.microsoft.com/office/2007/relationships/media" Target="../media/media13.wav"/><Relationship Id="rId5" Type="http://schemas.openxmlformats.org/officeDocument/2006/relationships/image" Target="../media/image8.png"/><Relationship Id="rId4" Type="http://schemas.openxmlformats.org/officeDocument/2006/relationships/image" Target="../media/image3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7.xml"/><Relationship Id="rId2" Type="http://schemas.openxmlformats.org/officeDocument/2006/relationships/audio" Target="../media/media14.wav"/><Relationship Id="rId1" Type="http://schemas.microsoft.com/office/2007/relationships/media" Target="../media/media14.wav"/><Relationship Id="rId5" Type="http://schemas.openxmlformats.org/officeDocument/2006/relationships/image" Target="../media/image8.png"/><Relationship Id="rId4" Type="http://schemas.openxmlformats.org/officeDocument/2006/relationships/image" Target="../media/image3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7.xml"/><Relationship Id="rId2" Type="http://schemas.openxmlformats.org/officeDocument/2006/relationships/audio" Target="../media/media15.wav"/><Relationship Id="rId1" Type="http://schemas.microsoft.com/office/2007/relationships/media" Target="../media/media15.wav"/><Relationship Id="rId5" Type="http://schemas.openxmlformats.org/officeDocument/2006/relationships/image" Target="../media/image8.png"/><Relationship Id="rId4" Type="http://schemas.openxmlformats.org/officeDocument/2006/relationships/image" Target="../media/image3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7.xml"/><Relationship Id="rId2" Type="http://schemas.openxmlformats.org/officeDocument/2006/relationships/audio" Target="../media/media16.wav"/><Relationship Id="rId1" Type="http://schemas.microsoft.com/office/2007/relationships/media" Target="../media/media16.wav"/><Relationship Id="rId5" Type="http://schemas.openxmlformats.org/officeDocument/2006/relationships/image" Target="../media/image8.png"/><Relationship Id="rId4" Type="http://schemas.openxmlformats.org/officeDocument/2006/relationships/image" Target="../media/image3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7.xml"/><Relationship Id="rId2" Type="http://schemas.openxmlformats.org/officeDocument/2006/relationships/audio" Target="../media/media17.wav"/><Relationship Id="rId1" Type="http://schemas.microsoft.com/office/2007/relationships/media" Target="../media/media17.wav"/><Relationship Id="rId5" Type="http://schemas.openxmlformats.org/officeDocument/2006/relationships/image" Target="../media/image8.png"/><Relationship Id="rId4" Type="http://schemas.openxmlformats.org/officeDocument/2006/relationships/image" Target="../media/image3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7.xml"/><Relationship Id="rId2" Type="http://schemas.openxmlformats.org/officeDocument/2006/relationships/audio" Target="../media/media18.wav"/><Relationship Id="rId1" Type="http://schemas.microsoft.com/office/2007/relationships/media" Target="../media/media18.wav"/><Relationship Id="rId5" Type="http://schemas.openxmlformats.org/officeDocument/2006/relationships/image" Target="../media/image8.png"/><Relationship Id="rId4" Type="http://schemas.openxmlformats.org/officeDocument/2006/relationships/image" Target="../media/image3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7.xml"/><Relationship Id="rId2" Type="http://schemas.openxmlformats.org/officeDocument/2006/relationships/audio" Target="../media/media19.wav"/><Relationship Id="rId1" Type="http://schemas.microsoft.com/office/2007/relationships/media" Target="../media/media19.wav"/><Relationship Id="rId5" Type="http://schemas.openxmlformats.org/officeDocument/2006/relationships/image" Target="../media/image8.png"/><Relationship Id="rId4" Type="http://schemas.openxmlformats.org/officeDocument/2006/relationships/image" Target="../media/image3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7.xml"/><Relationship Id="rId2" Type="http://schemas.openxmlformats.org/officeDocument/2006/relationships/audio" Target="../media/media2.wav"/><Relationship Id="rId1" Type="http://schemas.microsoft.com/office/2007/relationships/media" Target="../media/media2.wav"/><Relationship Id="rId5" Type="http://schemas.openxmlformats.org/officeDocument/2006/relationships/image" Target="../media/image8.png"/><Relationship Id="rId4" Type="http://schemas.openxmlformats.org/officeDocument/2006/relationships/image" Target="../media/image3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audio" Target="../media/media20.wav"/><Relationship Id="rId2" Type="http://schemas.microsoft.com/office/2007/relationships/media" Target="../media/media20.wav"/><Relationship Id="rId1" Type="http://schemas.openxmlformats.org/officeDocument/2006/relationships/tags" Target="../tags/tag1.xml"/><Relationship Id="rId6" Type="http://schemas.openxmlformats.org/officeDocument/2006/relationships/image" Target="../media/image8.png"/><Relationship Id="rId5" Type="http://schemas.openxmlformats.org/officeDocument/2006/relationships/image" Target="../media/image3.png"/><Relationship Id="rId4" Type="http://schemas.openxmlformats.org/officeDocument/2006/relationships/slideLayout" Target="../slideLayouts/slideLayout27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audio" Target="../media/media21.wav"/><Relationship Id="rId2" Type="http://schemas.microsoft.com/office/2007/relationships/media" Target="../media/media21.wav"/><Relationship Id="rId1" Type="http://schemas.openxmlformats.org/officeDocument/2006/relationships/tags" Target="../tags/tag2.xml"/><Relationship Id="rId6" Type="http://schemas.openxmlformats.org/officeDocument/2006/relationships/image" Target="../media/image8.png"/><Relationship Id="rId5" Type="http://schemas.openxmlformats.org/officeDocument/2006/relationships/image" Target="../media/image3.png"/><Relationship Id="rId4" Type="http://schemas.openxmlformats.org/officeDocument/2006/relationships/slideLayout" Target="../slideLayouts/slideLayout27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7.xml"/><Relationship Id="rId2" Type="http://schemas.openxmlformats.org/officeDocument/2006/relationships/audio" Target="../media/media22.wav"/><Relationship Id="rId1" Type="http://schemas.microsoft.com/office/2007/relationships/media" Target="../media/media22.wav"/><Relationship Id="rId6" Type="http://schemas.openxmlformats.org/officeDocument/2006/relationships/image" Target="../media/image8.png"/><Relationship Id="rId5" Type="http://schemas.openxmlformats.org/officeDocument/2006/relationships/image" Target="../media/image9.jpeg"/><Relationship Id="rId4" Type="http://schemas.openxmlformats.org/officeDocument/2006/relationships/image" Target="../media/image3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7.xml"/><Relationship Id="rId2" Type="http://schemas.openxmlformats.org/officeDocument/2006/relationships/audio" Target="../media/media23.wav"/><Relationship Id="rId1" Type="http://schemas.microsoft.com/office/2007/relationships/media" Target="../media/media23.wav"/><Relationship Id="rId6" Type="http://schemas.openxmlformats.org/officeDocument/2006/relationships/image" Target="../media/image8.png"/><Relationship Id="rId5" Type="http://schemas.openxmlformats.org/officeDocument/2006/relationships/image" Target="../media/image10.jpeg"/><Relationship Id="rId4" Type="http://schemas.openxmlformats.org/officeDocument/2006/relationships/image" Target="../media/image3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7.xml"/><Relationship Id="rId2" Type="http://schemas.openxmlformats.org/officeDocument/2006/relationships/audio" Target="../media/media3.wav"/><Relationship Id="rId1" Type="http://schemas.microsoft.com/office/2007/relationships/media" Target="../media/media3.wav"/><Relationship Id="rId5" Type="http://schemas.openxmlformats.org/officeDocument/2006/relationships/image" Target="../media/image8.png"/><Relationship Id="rId4" Type="http://schemas.openxmlformats.org/officeDocument/2006/relationships/image" Target="../media/image3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7.xml"/><Relationship Id="rId2" Type="http://schemas.openxmlformats.org/officeDocument/2006/relationships/audio" Target="../media/media4.wav"/><Relationship Id="rId1" Type="http://schemas.microsoft.com/office/2007/relationships/media" Target="../media/media4.wav"/><Relationship Id="rId5" Type="http://schemas.openxmlformats.org/officeDocument/2006/relationships/image" Target="../media/image8.png"/><Relationship Id="rId4" Type="http://schemas.openxmlformats.org/officeDocument/2006/relationships/image" Target="../media/image3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7.xml"/><Relationship Id="rId2" Type="http://schemas.openxmlformats.org/officeDocument/2006/relationships/audio" Target="../media/media5.wav"/><Relationship Id="rId1" Type="http://schemas.microsoft.com/office/2007/relationships/media" Target="../media/media5.wav"/><Relationship Id="rId5" Type="http://schemas.openxmlformats.org/officeDocument/2006/relationships/image" Target="../media/image8.png"/><Relationship Id="rId4" Type="http://schemas.openxmlformats.org/officeDocument/2006/relationships/image" Target="../media/image3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7.xml"/><Relationship Id="rId2" Type="http://schemas.openxmlformats.org/officeDocument/2006/relationships/audio" Target="../media/media6.wav"/><Relationship Id="rId1" Type="http://schemas.microsoft.com/office/2007/relationships/media" Target="../media/media6.wav"/><Relationship Id="rId5" Type="http://schemas.openxmlformats.org/officeDocument/2006/relationships/image" Target="../media/image8.png"/><Relationship Id="rId4" Type="http://schemas.openxmlformats.org/officeDocument/2006/relationships/image" Target="../media/image3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7.xml"/><Relationship Id="rId2" Type="http://schemas.openxmlformats.org/officeDocument/2006/relationships/audio" Target="../media/media7.wav"/><Relationship Id="rId1" Type="http://schemas.microsoft.com/office/2007/relationships/media" Target="../media/media7.wav"/><Relationship Id="rId5" Type="http://schemas.openxmlformats.org/officeDocument/2006/relationships/image" Target="../media/image8.png"/><Relationship Id="rId4" Type="http://schemas.openxmlformats.org/officeDocument/2006/relationships/image" Target="../media/image3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7.xml"/><Relationship Id="rId2" Type="http://schemas.openxmlformats.org/officeDocument/2006/relationships/audio" Target="../media/media8.wav"/><Relationship Id="rId1" Type="http://schemas.microsoft.com/office/2007/relationships/media" Target="../media/media8.wav"/><Relationship Id="rId5" Type="http://schemas.openxmlformats.org/officeDocument/2006/relationships/image" Target="../media/image8.png"/><Relationship Id="rId4" Type="http://schemas.openxmlformats.org/officeDocument/2006/relationships/image" Target="../media/image3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7.xml"/><Relationship Id="rId2" Type="http://schemas.openxmlformats.org/officeDocument/2006/relationships/audio" Target="../media/media9.wav"/><Relationship Id="rId1" Type="http://schemas.microsoft.com/office/2007/relationships/media" Target="../media/media9.wav"/><Relationship Id="rId5" Type="http://schemas.openxmlformats.org/officeDocument/2006/relationships/image" Target="../media/image8.png"/><Relationship Id="rId4" Type="http://schemas.openxmlformats.org/officeDocument/2006/relationships/image" Target="../media/image3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 8">
            <a:extLst>
              <a:ext uri="{FF2B5EF4-FFF2-40B4-BE49-F238E27FC236}">
                <a16:creationId xmlns:a16="http://schemas.microsoft.com/office/drawing/2014/main" xmlns="" id="{48D8A2D3-B443-4986-B1ED-38333861808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e-DE" dirty="0" smtClean="0">
                <a:solidFill>
                  <a:srgbClr val="343434"/>
                </a:solidFill>
              </a:rPr>
              <a:t>English </a:t>
            </a:r>
            <a:r>
              <a:rPr lang="de-DE" dirty="0" smtClean="0">
                <a:solidFill>
                  <a:srgbClr val="343434"/>
                </a:solidFill>
              </a:rPr>
              <a:t>III</a:t>
            </a:r>
            <a:endParaRPr lang="de-DE" dirty="0">
              <a:solidFill>
                <a:srgbClr val="343434"/>
              </a:solidFill>
            </a:endParaRPr>
          </a:p>
        </p:txBody>
      </p:sp>
      <p:sp>
        <p:nvSpPr>
          <p:cNvPr id="11" name="Textplatzhalter 5">
            <a:extLst>
              <a:ext uri="{FF2B5EF4-FFF2-40B4-BE49-F238E27FC236}">
                <a16:creationId xmlns:a16="http://schemas.microsoft.com/office/drawing/2014/main" xmlns="" id="{07259BD0-8F46-453D-852A-6EDA7FC8F2F5}"/>
              </a:ext>
            </a:extLst>
          </p:cNvPr>
          <p:cNvSpPr txBox="1">
            <a:spLocks/>
          </p:cNvSpPr>
          <p:nvPr/>
        </p:nvSpPr>
        <p:spPr>
          <a:xfrm>
            <a:off x="782952" y="1829963"/>
            <a:ext cx="6821987" cy="4502085"/>
          </a:xfrm>
          <a:prstGeom prst="rect">
            <a:avLst/>
          </a:prstGeom>
        </p:spPr>
        <p:txBody>
          <a:bodyPr/>
          <a:lstStyle>
            <a:lvl1pPr marL="285750" indent="-285750" algn="ctr" defTabSz="914400" rtl="0" eaLnBrk="1" latinLnBrk="0" hangingPunct="1">
              <a:lnSpc>
                <a:spcPts val="2400"/>
              </a:lnSpc>
              <a:spcBef>
                <a:spcPts val="1000"/>
              </a:spcBef>
              <a:buSzPct val="65000"/>
              <a:buFontTx/>
              <a:buBlip>
                <a:blip r:embed="rId5"/>
              </a:buBlip>
              <a:tabLst>
                <a:tab pos="1704975" algn="l"/>
              </a:tabLst>
              <a:defRPr lang="de-DE" sz="1600" kern="1200" dirty="0" err="1" smtClean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lang="de-DE" sz="1600" kern="1200" dirty="0" smtClean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+mn-cs"/>
              </a:defRPr>
            </a:lvl2pPr>
            <a:lvl3pPr marL="914400" marR="0" indent="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de-DE" sz="1600" kern="1200" dirty="0" smtClean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lang="de-DE" sz="1600" kern="1200" dirty="0" smtClean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lang="de-DE" sz="1600" kern="12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ts val="1800"/>
              </a:lnSpc>
            </a:pPr>
            <a:endParaRPr lang="de-DE" dirty="0">
              <a:solidFill>
                <a:srgbClr val="343434"/>
              </a:solidFill>
            </a:endParaRPr>
          </a:p>
        </p:txBody>
      </p:sp>
      <p:sp>
        <p:nvSpPr>
          <p:cNvPr id="14" name="Textplatzhalter 5">
            <a:extLst>
              <a:ext uri="{FF2B5EF4-FFF2-40B4-BE49-F238E27FC236}">
                <a16:creationId xmlns:a16="http://schemas.microsoft.com/office/drawing/2014/main" xmlns="" id="{E483239E-B7FF-4473-BEC7-2F375E16713D}"/>
              </a:ext>
            </a:extLst>
          </p:cNvPr>
          <p:cNvSpPr txBox="1">
            <a:spLocks/>
          </p:cNvSpPr>
          <p:nvPr/>
        </p:nvSpPr>
        <p:spPr>
          <a:xfrm>
            <a:off x="6096000" y="1829963"/>
            <a:ext cx="4830846" cy="5389443"/>
          </a:xfrm>
          <a:prstGeom prst="rect">
            <a:avLst/>
          </a:prstGeom>
        </p:spPr>
        <p:txBody>
          <a:bodyPr/>
          <a:lstStyle>
            <a:lvl1pPr marL="285750" indent="-285750" algn="ctr" defTabSz="914400" rtl="0" eaLnBrk="1" latinLnBrk="0" hangingPunct="1">
              <a:lnSpc>
                <a:spcPts val="2400"/>
              </a:lnSpc>
              <a:spcBef>
                <a:spcPts val="1000"/>
              </a:spcBef>
              <a:buSzPct val="65000"/>
              <a:buFontTx/>
              <a:buBlip>
                <a:blip r:embed="rId5"/>
              </a:buBlip>
              <a:tabLst>
                <a:tab pos="1704975" algn="l"/>
              </a:tabLst>
              <a:defRPr lang="de-DE" sz="1600" kern="1200" dirty="0" err="1" smtClean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lang="de-DE" sz="1600" kern="1200" dirty="0" smtClean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+mn-cs"/>
              </a:defRPr>
            </a:lvl2pPr>
            <a:lvl3pPr marL="914400" marR="0" indent="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de-DE" sz="1600" kern="1200" dirty="0" smtClean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lang="de-DE" sz="1600" kern="1200" dirty="0" smtClean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lang="de-DE" sz="1600" kern="12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l">
              <a:buNone/>
            </a:pPr>
            <a:endParaRPr lang="de-DE" dirty="0"/>
          </a:p>
        </p:txBody>
      </p:sp>
      <p:pic>
        <p:nvPicPr>
          <p:cNvPr id="2" name="Grafik 1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51543" y="1710634"/>
            <a:ext cx="7378362" cy="4230362"/>
          </a:xfrm>
          <a:prstGeom prst="rect">
            <a:avLst/>
          </a:prstGeom>
        </p:spPr>
      </p:pic>
      <p:pic>
        <p:nvPicPr>
          <p:cNvPr id="8" name="Audio 7">
            <a:hlinkClick r:id="" action="ppaction://media"/>
          </p:cNvPr>
          <p:cNvPicPr>
            <a:picLocks noChangeAspect="1"/>
          </p:cNvPicPr>
          <p:nvPr>
            <a:audi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7"/>
          <a:stretch>
            <a:fillRect/>
          </a:stretch>
        </p:blipFill>
        <p:spPr>
          <a:xfrm>
            <a:off x="11488738" y="6154738"/>
            <a:ext cx="487362" cy="4873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739207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8722"/>
    </mc:Choice>
    <mc:Fallback xmlns="">
      <p:transition spd="slow" advTm="8722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8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 isNarration="1">
              <p:cMediaNode vol="80000" showWhenStopped="0">
                <p:cTn id="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8"/>
                </p:tgtEl>
              </p:cMediaNode>
            </p:audio>
          </p:childTnLst>
        </p:cTn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 8">
            <a:extLst>
              <a:ext uri="{FF2B5EF4-FFF2-40B4-BE49-F238E27FC236}">
                <a16:creationId xmlns:a16="http://schemas.microsoft.com/office/drawing/2014/main" xmlns="" id="{48D8A2D3-B443-4986-B1ED-38333861808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e-DE" dirty="0" smtClean="0">
                <a:solidFill>
                  <a:srgbClr val="343434"/>
                </a:solidFill>
              </a:rPr>
              <a:t>English </a:t>
            </a:r>
            <a:r>
              <a:rPr lang="de-DE" dirty="0" smtClean="0">
                <a:solidFill>
                  <a:srgbClr val="343434"/>
                </a:solidFill>
              </a:rPr>
              <a:t>III</a:t>
            </a:r>
            <a:endParaRPr lang="de-DE" dirty="0">
              <a:solidFill>
                <a:srgbClr val="343434"/>
              </a:solidFill>
            </a:endParaRPr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xmlns="" id="{18B4579A-4238-40E2-906C-8E6A9538D842}"/>
              </a:ext>
            </a:extLst>
          </p:cNvPr>
          <p:cNvSpPr txBox="1">
            <a:spLocks/>
          </p:cNvSpPr>
          <p:nvPr/>
        </p:nvSpPr>
        <p:spPr>
          <a:xfrm>
            <a:off x="852784" y="1889341"/>
            <a:ext cx="4883782" cy="330864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IN" sz="2000" b="1" kern="1200" baseline="0" dirty="0">
                <a:solidFill>
                  <a:srgbClr val="002B6A"/>
                </a:solidFill>
                <a:latin typeface="Roboto Cn" pitchFamily="2" charset="0"/>
                <a:ea typeface="Roboto Cn" pitchFamily="2" charset="0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rgbClr val="FFFFFF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+mn-cs"/>
              </a:defRPr>
            </a:lvl2pPr>
            <a:lvl3pPr marL="914400" marR="0" indent="0" algn="ctr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kern="1200">
                <a:solidFill>
                  <a:srgbClr val="FFFFFF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rgbClr val="FFFFFF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rgbClr val="FFFFFF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1800" dirty="0" smtClean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What makes a good presentation?</a:t>
            </a:r>
            <a:endParaRPr lang="en-US" sz="1800" dirty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11" name="Textplatzhalter 5">
            <a:extLst>
              <a:ext uri="{FF2B5EF4-FFF2-40B4-BE49-F238E27FC236}">
                <a16:creationId xmlns:a16="http://schemas.microsoft.com/office/drawing/2014/main" xmlns="" id="{07259BD0-8F46-453D-852A-6EDA7FC8F2F5}"/>
              </a:ext>
            </a:extLst>
          </p:cNvPr>
          <p:cNvSpPr txBox="1">
            <a:spLocks/>
          </p:cNvSpPr>
          <p:nvPr/>
        </p:nvSpPr>
        <p:spPr>
          <a:xfrm>
            <a:off x="821018" y="2130725"/>
            <a:ext cx="4639504" cy="3830128"/>
          </a:xfrm>
          <a:prstGeom prst="rect">
            <a:avLst/>
          </a:prstGeom>
        </p:spPr>
        <p:txBody>
          <a:bodyPr/>
          <a:lstStyle>
            <a:lvl1pPr marL="285750" indent="-285750" algn="ctr" defTabSz="914400" rtl="0" eaLnBrk="1" latinLnBrk="0" hangingPunct="1">
              <a:lnSpc>
                <a:spcPts val="2400"/>
              </a:lnSpc>
              <a:spcBef>
                <a:spcPts val="1000"/>
              </a:spcBef>
              <a:buSzPct val="65000"/>
              <a:buFontTx/>
              <a:buBlip>
                <a:blip r:embed="rId4"/>
              </a:buBlip>
              <a:tabLst>
                <a:tab pos="1704975" algn="l"/>
              </a:tabLst>
              <a:defRPr lang="de-DE" sz="1600" kern="1200" dirty="0" err="1" smtClean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lang="de-DE" sz="1600" kern="1200" dirty="0" smtClean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+mn-cs"/>
              </a:defRPr>
            </a:lvl2pPr>
            <a:lvl3pPr marL="914400" marR="0" indent="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de-DE" sz="1600" kern="1200" dirty="0" smtClean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lang="de-DE" sz="1600" kern="1200" dirty="0" smtClean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lang="de-DE" sz="1600" kern="12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ts val="1800"/>
              </a:lnSpc>
              <a:buFontTx/>
              <a:buChar char="-"/>
            </a:pPr>
            <a:endParaRPr lang="de-DE" dirty="0">
              <a:solidFill>
                <a:schemeClr val="bg1">
                  <a:lumMod val="50000"/>
                </a:schemeClr>
              </a:solidFill>
            </a:endParaRPr>
          </a:p>
          <a:p>
            <a:pPr lvl="1">
              <a:lnSpc>
                <a:spcPct val="120000"/>
              </a:lnSpc>
              <a:spcBef>
                <a:spcPct val="0"/>
              </a:spcBef>
            </a:pPr>
            <a:r>
              <a:rPr lang="de-DE" altLang="de-DE" sz="1800" dirty="0" err="1"/>
              <a:t>clear</a:t>
            </a:r>
            <a:r>
              <a:rPr lang="de-DE" altLang="de-DE" sz="1800" dirty="0"/>
              <a:t> </a:t>
            </a:r>
            <a:r>
              <a:rPr lang="de-DE" altLang="de-DE" sz="1800" dirty="0" err="1"/>
              <a:t>structure</a:t>
            </a:r>
            <a:endParaRPr lang="de-DE" altLang="de-DE" sz="1800" dirty="0"/>
          </a:p>
          <a:p>
            <a:pPr lvl="1">
              <a:lnSpc>
                <a:spcPct val="120000"/>
              </a:lnSpc>
              <a:spcBef>
                <a:spcPct val="0"/>
              </a:spcBef>
            </a:pPr>
            <a:r>
              <a:rPr lang="de-DE" altLang="de-DE" sz="1800" dirty="0" err="1"/>
              <a:t>speak</a:t>
            </a:r>
            <a:r>
              <a:rPr lang="de-DE" altLang="de-DE" sz="1800" dirty="0"/>
              <a:t> </a:t>
            </a:r>
            <a:r>
              <a:rPr lang="de-DE" altLang="de-DE" sz="1800" dirty="0" err="1"/>
              <a:t>fluently</a:t>
            </a:r>
            <a:endParaRPr lang="de-DE" altLang="de-DE" sz="1800" dirty="0"/>
          </a:p>
          <a:p>
            <a:pPr lvl="1">
              <a:lnSpc>
                <a:spcPct val="120000"/>
              </a:lnSpc>
              <a:spcBef>
                <a:spcPct val="0"/>
              </a:spcBef>
            </a:pPr>
            <a:r>
              <a:rPr lang="de-DE" altLang="de-DE" sz="1800" dirty="0" err="1"/>
              <a:t>speak</a:t>
            </a:r>
            <a:r>
              <a:rPr lang="de-DE" altLang="de-DE" sz="1800" dirty="0"/>
              <a:t> </a:t>
            </a:r>
            <a:r>
              <a:rPr lang="de-DE" altLang="de-DE" sz="1800" dirty="0" err="1"/>
              <a:t>clearly</a:t>
            </a:r>
            <a:endParaRPr lang="de-DE" altLang="de-DE" sz="1800" dirty="0"/>
          </a:p>
          <a:p>
            <a:pPr lvl="1">
              <a:lnSpc>
                <a:spcPct val="120000"/>
              </a:lnSpc>
              <a:spcBef>
                <a:spcPct val="0"/>
              </a:spcBef>
            </a:pPr>
            <a:r>
              <a:rPr lang="de-DE" altLang="de-DE" sz="1800" dirty="0" err="1"/>
              <a:t>good</a:t>
            </a:r>
            <a:r>
              <a:rPr lang="de-DE" altLang="de-DE" sz="1800" dirty="0"/>
              <a:t> </a:t>
            </a:r>
            <a:r>
              <a:rPr lang="de-DE" altLang="de-DE" sz="1800" dirty="0" err="1"/>
              <a:t>body</a:t>
            </a:r>
            <a:r>
              <a:rPr lang="de-DE" altLang="de-DE" sz="1800" dirty="0"/>
              <a:t> </a:t>
            </a:r>
            <a:r>
              <a:rPr lang="de-DE" altLang="de-DE" sz="1800" dirty="0" err="1"/>
              <a:t>language</a:t>
            </a:r>
            <a:endParaRPr lang="de-DE" altLang="de-DE" sz="1800" dirty="0"/>
          </a:p>
          <a:p>
            <a:pPr lvl="1">
              <a:lnSpc>
                <a:spcPct val="120000"/>
              </a:lnSpc>
              <a:spcBef>
                <a:spcPct val="0"/>
              </a:spcBef>
            </a:pPr>
            <a:r>
              <a:rPr lang="de-DE" altLang="de-DE" sz="1800" dirty="0" err="1"/>
              <a:t>keep</a:t>
            </a:r>
            <a:r>
              <a:rPr lang="de-DE" altLang="de-DE" sz="1800" dirty="0"/>
              <a:t> </a:t>
            </a:r>
            <a:r>
              <a:rPr lang="de-DE" altLang="de-DE" sz="1800" dirty="0" err="1"/>
              <a:t>eye</a:t>
            </a:r>
            <a:r>
              <a:rPr lang="de-DE" altLang="de-DE" sz="1800" dirty="0"/>
              <a:t> </a:t>
            </a:r>
            <a:r>
              <a:rPr lang="de-DE" altLang="de-DE" sz="1800" dirty="0" err="1"/>
              <a:t>contact</a:t>
            </a:r>
            <a:endParaRPr lang="de-DE" altLang="de-DE" sz="1800" dirty="0"/>
          </a:p>
          <a:p>
            <a:pPr lvl="1">
              <a:lnSpc>
                <a:spcPct val="120000"/>
              </a:lnSpc>
              <a:spcBef>
                <a:spcPct val="0"/>
              </a:spcBef>
            </a:pPr>
            <a:r>
              <a:rPr lang="de-DE" altLang="de-DE" sz="1800" dirty="0" err="1"/>
              <a:t>audience</a:t>
            </a:r>
            <a:r>
              <a:rPr lang="de-DE" altLang="de-DE" sz="1800" dirty="0"/>
              <a:t> </a:t>
            </a:r>
            <a:r>
              <a:rPr lang="de-DE" altLang="de-DE" sz="1800" dirty="0" err="1"/>
              <a:t>involvement</a:t>
            </a:r>
            <a:endParaRPr lang="de-DE" altLang="de-DE" sz="1800" dirty="0"/>
          </a:p>
          <a:p>
            <a:pPr lvl="1">
              <a:lnSpc>
                <a:spcPct val="120000"/>
              </a:lnSpc>
              <a:spcBef>
                <a:spcPct val="0"/>
              </a:spcBef>
            </a:pPr>
            <a:r>
              <a:rPr lang="de-DE" altLang="de-DE" sz="1800" dirty="0" err="1"/>
              <a:t>good</a:t>
            </a:r>
            <a:r>
              <a:rPr lang="de-DE" altLang="de-DE" sz="1800" dirty="0"/>
              <a:t> </a:t>
            </a:r>
            <a:r>
              <a:rPr lang="de-DE" altLang="de-DE" sz="1800" dirty="0" err="1"/>
              <a:t>visuals</a:t>
            </a:r>
            <a:endParaRPr lang="de-DE" altLang="de-DE" sz="1800" dirty="0"/>
          </a:p>
          <a:p>
            <a:pPr lvl="1">
              <a:lnSpc>
                <a:spcPct val="120000"/>
              </a:lnSpc>
              <a:spcBef>
                <a:spcPct val="0"/>
              </a:spcBef>
            </a:pPr>
            <a:r>
              <a:rPr lang="de-DE" altLang="de-DE" sz="1800" dirty="0" err="1" smtClean="0"/>
              <a:t>good</a:t>
            </a:r>
            <a:r>
              <a:rPr lang="de-DE" altLang="de-DE" sz="1800" dirty="0" smtClean="0"/>
              <a:t> </a:t>
            </a:r>
            <a:r>
              <a:rPr lang="de-DE" altLang="de-DE" sz="1800" dirty="0" err="1" smtClean="0"/>
              <a:t>preparation</a:t>
            </a:r>
            <a:endParaRPr lang="de-DE" altLang="de-DE" sz="1800" dirty="0" smtClean="0"/>
          </a:p>
          <a:p>
            <a:pPr lvl="1">
              <a:lnSpc>
                <a:spcPct val="120000"/>
              </a:lnSpc>
              <a:spcBef>
                <a:spcPct val="0"/>
              </a:spcBef>
            </a:pPr>
            <a:r>
              <a:rPr lang="de-DE" altLang="de-DE" sz="1800" dirty="0" err="1" smtClean="0"/>
              <a:t>make</a:t>
            </a:r>
            <a:r>
              <a:rPr lang="de-DE" altLang="de-DE" sz="1800" dirty="0" smtClean="0"/>
              <a:t> </a:t>
            </a:r>
            <a:r>
              <a:rPr lang="de-DE" altLang="de-DE" sz="1800" dirty="0" err="1"/>
              <a:t>it</a:t>
            </a:r>
            <a:r>
              <a:rPr lang="de-DE" altLang="de-DE" sz="1800" dirty="0"/>
              <a:t> </a:t>
            </a:r>
            <a:r>
              <a:rPr lang="de-DE" altLang="de-DE" sz="1800" dirty="0" err="1"/>
              <a:t>interesting</a:t>
            </a:r>
            <a:r>
              <a:rPr lang="de-DE" altLang="de-DE" sz="1800" dirty="0"/>
              <a:t> </a:t>
            </a:r>
            <a:r>
              <a:rPr lang="de-DE" altLang="de-DE" sz="1800" dirty="0" err="1"/>
              <a:t>and</a:t>
            </a:r>
            <a:r>
              <a:rPr lang="de-DE" altLang="de-DE" sz="1800" dirty="0"/>
              <a:t> relevant</a:t>
            </a:r>
          </a:p>
          <a:p>
            <a:pPr lvl="1">
              <a:lnSpc>
                <a:spcPct val="120000"/>
              </a:lnSpc>
              <a:spcBef>
                <a:spcPct val="0"/>
              </a:spcBef>
            </a:pPr>
            <a:r>
              <a:rPr lang="de-DE" altLang="de-DE" sz="1800" dirty="0" err="1">
                <a:solidFill>
                  <a:schemeClr val="bg1"/>
                </a:solidFill>
              </a:rPr>
              <a:t>intonation</a:t>
            </a:r>
            <a:endParaRPr lang="de-DE" altLang="de-DE" sz="1800" dirty="0">
              <a:solidFill>
                <a:schemeClr val="bg1"/>
              </a:solidFill>
            </a:endParaRPr>
          </a:p>
          <a:p>
            <a:pPr algn="l">
              <a:lnSpc>
                <a:spcPts val="1800"/>
              </a:lnSpc>
              <a:buFontTx/>
              <a:buChar char="-"/>
            </a:pPr>
            <a:endParaRPr lang="de-DE" dirty="0">
              <a:solidFill>
                <a:schemeClr val="bg1">
                  <a:lumMod val="50000"/>
                </a:schemeClr>
              </a:solidFill>
            </a:endParaRPr>
          </a:p>
          <a:p>
            <a:pPr algn="l">
              <a:lnSpc>
                <a:spcPts val="1800"/>
              </a:lnSpc>
              <a:buFontTx/>
              <a:buChar char="-"/>
            </a:pPr>
            <a:endParaRPr lang="de-DE" dirty="0" smtClean="0">
              <a:solidFill>
                <a:schemeClr val="bg1">
                  <a:lumMod val="50000"/>
                </a:schemeClr>
              </a:solidFill>
            </a:endParaRPr>
          </a:p>
          <a:p>
            <a:pPr algn="l">
              <a:lnSpc>
                <a:spcPts val="1800"/>
              </a:lnSpc>
              <a:buFontTx/>
              <a:buChar char="-"/>
            </a:pPr>
            <a:endParaRPr lang="de-DE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14" name="Textplatzhalter 5">
            <a:extLst>
              <a:ext uri="{FF2B5EF4-FFF2-40B4-BE49-F238E27FC236}">
                <a16:creationId xmlns:a16="http://schemas.microsoft.com/office/drawing/2014/main" xmlns="" id="{E483239E-B7FF-4473-BEC7-2F375E16713D}"/>
              </a:ext>
            </a:extLst>
          </p:cNvPr>
          <p:cNvSpPr txBox="1">
            <a:spLocks/>
          </p:cNvSpPr>
          <p:nvPr/>
        </p:nvSpPr>
        <p:spPr>
          <a:xfrm>
            <a:off x="6096000" y="2501342"/>
            <a:ext cx="4830846" cy="2662842"/>
          </a:xfrm>
          <a:prstGeom prst="rect">
            <a:avLst/>
          </a:prstGeom>
        </p:spPr>
        <p:txBody>
          <a:bodyPr/>
          <a:lstStyle>
            <a:lvl1pPr marL="285750" indent="-285750" algn="ctr" defTabSz="914400" rtl="0" eaLnBrk="1" latinLnBrk="0" hangingPunct="1">
              <a:lnSpc>
                <a:spcPts val="2400"/>
              </a:lnSpc>
              <a:spcBef>
                <a:spcPts val="1000"/>
              </a:spcBef>
              <a:buSzPct val="65000"/>
              <a:buFontTx/>
              <a:buBlip>
                <a:blip r:embed="rId4"/>
              </a:buBlip>
              <a:tabLst>
                <a:tab pos="1704975" algn="l"/>
              </a:tabLst>
              <a:defRPr lang="de-DE" sz="1600" kern="1200" dirty="0" err="1" smtClean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lang="de-DE" sz="1600" kern="1200" dirty="0" smtClean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+mn-cs"/>
              </a:defRPr>
            </a:lvl2pPr>
            <a:lvl3pPr marL="914400" marR="0" indent="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de-DE" sz="1600" kern="1200" dirty="0" smtClean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lang="de-DE" sz="1600" kern="1200" dirty="0" smtClean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lang="de-DE" sz="1600" kern="12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ts val="1800"/>
              </a:lnSpc>
            </a:pPr>
            <a:endParaRPr lang="de-DE" dirty="0">
              <a:solidFill>
                <a:srgbClr val="343434"/>
              </a:solidFill>
            </a:endParaRPr>
          </a:p>
        </p:txBody>
      </p:sp>
      <p:sp>
        <p:nvSpPr>
          <p:cNvPr id="3" name="Textfeld 2"/>
          <p:cNvSpPr txBox="1"/>
          <p:nvPr/>
        </p:nvSpPr>
        <p:spPr>
          <a:xfrm>
            <a:off x="6095998" y="2449583"/>
            <a:ext cx="3927895" cy="30285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1">
              <a:lnSpc>
                <a:spcPct val="120000"/>
              </a:lnSpc>
              <a:spcBef>
                <a:spcPct val="0"/>
              </a:spcBef>
            </a:pPr>
            <a:r>
              <a:rPr lang="de-DE" altLang="de-DE" sz="1600" dirty="0" err="1"/>
              <a:t>pronunciation</a:t>
            </a:r>
            <a:endParaRPr lang="de-DE" altLang="de-DE" sz="1600" dirty="0"/>
          </a:p>
          <a:p>
            <a:pPr lvl="1">
              <a:lnSpc>
                <a:spcPct val="120000"/>
              </a:lnSpc>
              <a:spcBef>
                <a:spcPct val="0"/>
              </a:spcBef>
            </a:pPr>
            <a:r>
              <a:rPr lang="de-DE" altLang="de-DE" sz="1600" dirty="0" err="1"/>
              <a:t>be</a:t>
            </a:r>
            <a:r>
              <a:rPr lang="de-DE" altLang="de-DE" sz="1600" dirty="0"/>
              <a:t> </a:t>
            </a:r>
            <a:r>
              <a:rPr lang="de-DE" altLang="de-DE" sz="1600" dirty="0" err="1"/>
              <a:t>able</a:t>
            </a:r>
            <a:r>
              <a:rPr lang="de-DE" altLang="de-DE" sz="1600" dirty="0"/>
              <a:t> </a:t>
            </a:r>
            <a:r>
              <a:rPr lang="de-DE" altLang="de-DE" sz="1600" dirty="0" err="1"/>
              <a:t>to</a:t>
            </a:r>
            <a:r>
              <a:rPr lang="de-DE" altLang="de-DE" sz="1600" dirty="0"/>
              <a:t> </a:t>
            </a:r>
            <a:r>
              <a:rPr lang="de-DE" altLang="de-DE" sz="1600" dirty="0" err="1"/>
              <a:t>say</a:t>
            </a:r>
            <a:r>
              <a:rPr lang="de-DE" altLang="de-DE" sz="1600" dirty="0"/>
              <a:t> </a:t>
            </a:r>
            <a:r>
              <a:rPr lang="de-DE" altLang="de-DE" sz="1600" dirty="0" err="1"/>
              <a:t>it</a:t>
            </a:r>
            <a:r>
              <a:rPr lang="de-DE" altLang="de-DE" sz="1600" dirty="0"/>
              <a:t> in simple </a:t>
            </a:r>
            <a:r>
              <a:rPr lang="de-DE" altLang="de-DE" sz="1600" dirty="0" err="1" smtClean="0"/>
              <a:t>words</a:t>
            </a:r>
            <a:endParaRPr lang="de-DE" altLang="de-DE" sz="1600" dirty="0" smtClean="0"/>
          </a:p>
          <a:p>
            <a:pPr lvl="1">
              <a:lnSpc>
                <a:spcPct val="120000"/>
              </a:lnSpc>
              <a:spcBef>
                <a:spcPct val="0"/>
              </a:spcBef>
            </a:pPr>
            <a:r>
              <a:rPr lang="de-DE" altLang="de-DE" sz="1600" dirty="0"/>
              <a:t>easy </a:t>
            </a:r>
            <a:r>
              <a:rPr lang="de-DE" altLang="de-DE" sz="1600" dirty="0" err="1"/>
              <a:t>to</a:t>
            </a:r>
            <a:r>
              <a:rPr lang="de-DE" altLang="de-DE" sz="1600" dirty="0"/>
              <a:t> follow</a:t>
            </a:r>
          </a:p>
          <a:p>
            <a:pPr lvl="1">
              <a:lnSpc>
                <a:spcPct val="120000"/>
              </a:lnSpc>
              <a:spcBef>
                <a:spcPct val="0"/>
              </a:spcBef>
            </a:pPr>
            <a:r>
              <a:rPr lang="de-DE" altLang="de-DE" sz="1600" dirty="0" err="1"/>
              <a:t>no</a:t>
            </a:r>
            <a:r>
              <a:rPr lang="de-DE" altLang="de-DE" sz="1600" dirty="0"/>
              <a:t> funny </a:t>
            </a:r>
            <a:r>
              <a:rPr lang="de-DE" altLang="de-DE" sz="1600" dirty="0" err="1"/>
              <a:t>gestures</a:t>
            </a:r>
            <a:endParaRPr lang="de-DE" altLang="de-DE" sz="1600" dirty="0"/>
          </a:p>
          <a:p>
            <a:pPr lvl="1">
              <a:lnSpc>
                <a:spcPct val="120000"/>
              </a:lnSpc>
              <a:spcBef>
                <a:spcPct val="0"/>
              </a:spcBef>
            </a:pPr>
            <a:r>
              <a:rPr lang="de-DE" altLang="de-DE" sz="1600" dirty="0" err="1"/>
              <a:t>use</a:t>
            </a:r>
            <a:r>
              <a:rPr lang="de-DE" altLang="de-DE" sz="1600" dirty="0"/>
              <a:t> </a:t>
            </a:r>
            <a:r>
              <a:rPr lang="de-DE" altLang="de-DE" sz="1600" dirty="0" err="1"/>
              <a:t>of</a:t>
            </a:r>
            <a:r>
              <a:rPr lang="de-DE" altLang="de-DE" sz="1600" dirty="0"/>
              <a:t> </a:t>
            </a:r>
            <a:r>
              <a:rPr lang="de-DE" altLang="de-DE" sz="1600" dirty="0" err="1"/>
              <a:t>pauses</a:t>
            </a:r>
            <a:endParaRPr lang="de-DE" altLang="de-DE" sz="1600" dirty="0"/>
          </a:p>
          <a:p>
            <a:pPr lvl="1">
              <a:lnSpc>
                <a:spcPct val="120000"/>
              </a:lnSpc>
              <a:spcBef>
                <a:spcPct val="0"/>
              </a:spcBef>
            </a:pPr>
            <a:r>
              <a:rPr lang="de-DE" altLang="de-DE" sz="1600" dirty="0"/>
              <a:t>…</a:t>
            </a:r>
          </a:p>
          <a:p>
            <a:pPr lvl="1">
              <a:lnSpc>
                <a:spcPct val="120000"/>
              </a:lnSpc>
              <a:spcBef>
                <a:spcPct val="0"/>
              </a:spcBef>
            </a:pPr>
            <a:r>
              <a:rPr lang="de-DE" altLang="de-DE" sz="1600" dirty="0"/>
              <a:t>…</a:t>
            </a:r>
          </a:p>
          <a:p>
            <a:pPr lvl="1">
              <a:lnSpc>
                <a:spcPct val="120000"/>
              </a:lnSpc>
              <a:spcBef>
                <a:spcPct val="0"/>
              </a:spcBef>
            </a:pPr>
            <a:endParaRPr lang="de-DE" altLang="de-DE" sz="1600" dirty="0" smtClean="0"/>
          </a:p>
          <a:p>
            <a:pPr lvl="1">
              <a:lnSpc>
                <a:spcPct val="120000"/>
              </a:lnSpc>
              <a:spcBef>
                <a:spcPct val="0"/>
              </a:spcBef>
            </a:pPr>
            <a:endParaRPr lang="de-DE" altLang="de-DE" sz="1600" dirty="0"/>
          </a:p>
          <a:p>
            <a:endParaRPr lang="de-DE" dirty="0"/>
          </a:p>
        </p:txBody>
      </p:sp>
      <p:pic>
        <p:nvPicPr>
          <p:cNvPr id="4" name="Audio 3">
            <a:hlinkClick r:id="" action="ppaction://media"/>
          </p:cNvPr>
          <p:cNvPicPr>
            <a:picLocks noChangeAspect="1"/>
          </p:cNvPicPr>
          <p:nvPr>
            <a:audi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5"/>
          <a:stretch>
            <a:fillRect/>
          </a:stretch>
        </p:blipFill>
        <p:spPr>
          <a:xfrm>
            <a:off x="11488738" y="6154738"/>
            <a:ext cx="487362" cy="4873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216597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14946"/>
    </mc:Choice>
    <mc:Fallback xmlns="">
      <p:transition spd="slow" advTm="14946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 isNarration="1">
              <p:cMediaNode vol="80000" showWhenStopped="0">
                <p:cTn id="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4"/>
                </p:tgtEl>
              </p:cMediaNode>
            </p:audio>
          </p:childTnLst>
        </p:cTn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 8">
            <a:extLst>
              <a:ext uri="{FF2B5EF4-FFF2-40B4-BE49-F238E27FC236}">
                <a16:creationId xmlns:a16="http://schemas.microsoft.com/office/drawing/2014/main" xmlns="" id="{48D8A2D3-B443-4986-B1ED-38333861808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e-DE" dirty="0" smtClean="0">
                <a:solidFill>
                  <a:srgbClr val="343434"/>
                </a:solidFill>
              </a:rPr>
              <a:t>English </a:t>
            </a:r>
            <a:r>
              <a:rPr lang="de-DE" dirty="0" smtClean="0">
                <a:solidFill>
                  <a:srgbClr val="343434"/>
                </a:solidFill>
              </a:rPr>
              <a:t>III</a:t>
            </a:r>
            <a:endParaRPr lang="de-DE" dirty="0">
              <a:solidFill>
                <a:srgbClr val="343434"/>
              </a:solidFill>
            </a:endParaRPr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xmlns="" id="{18B4579A-4238-40E2-906C-8E6A9538D842}"/>
              </a:ext>
            </a:extLst>
          </p:cNvPr>
          <p:cNvSpPr txBox="1">
            <a:spLocks/>
          </p:cNvSpPr>
          <p:nvPr/>
        </p:nvSpPr>
        <p:spPr>
          <a:xfrm>
            <a:off x="852784" y="1889341"/>
            <a:ext cx="4883782" cy="330864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IN" sz="2000" b="1" kern="1200" baseline="0" dirty="0">
                <a:solidFill>
                  <a:srgbClr val="002B6A"/>
                </a:solidFill>
                <a:latin typeface="Roboto Cn" pitchFamily="2" charset="0"/>
                <a:ea typeface="Roboto Cn" pitchFamily="2" charset="0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rgbClr val="FFFFFF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+mn-cs"/>
              </a:defRPr>
            </a:lvl2pPr>
            <a:lvl3pPr marL="914400" marR="0" indent="0" algn="ctr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kern="1200">
                <a:solidFill>
                  <a:srgbClr val="FFFFFF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rgbClr val="FFFFFF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rgbClr val="FFFFFF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1800" dirty="0" smtClean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What makes a good presentation?</a:t>
            </a:r>
            <a:endParaRPr lang="en-US" sz="1800" dirty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11" name="Textplatzhalter 5">
            <a:extLst>
              <a:ext uri="{FF2B5EF4-FFF2-40B4-BE49-F238E27FC236}">
                <a16:creationId xmlns:a16="http://schemas.microsoft.com/office/drawing/2014/main" xmlns="" id="{07259BD0-8F46-453D-852A-6EDA7FC8F2F5}"/>
              </a:ext>
            </a:extLst>
          </p:cNvPr>
          <p:cNvSpPr txBox="1">
            <a:spLocks/>
          </p:cNvSpPr>
          <p:nvPr/>
        </p:nvSpPr>
        <p:spPr>
          <a:xfrm>
            <a:off x="821018" y="2130725"/>
            <a:ext cx="4639504" cy="3830128"/>
          </a:xfrm>
          <a:prstGeom prst="rect">
            <a:avLst/>
          </a:prstGeom>
        </p:spPr>
        <p:txBody>
          <a:bodyPr/>
          <a:lstStyle>
            <a:lvl1pPr marL="285750" indent="-285750" algn="ctr" defTabSz="914400" rtl="0" eaLnBrk="1" latinLnBrk="0" hangingPunct="1">
              <a:lnSpc>
                <a:spcPts val="2400"/>
              </a:lnSpc>
              <a:spcBef>
                <a:spcPts val="1000"/>
              </a:spcBef>
              <a:buSzPct val="65000"/>
              <a:buFontTx/>
              <a:buBlip>
                <a:blip r:embed="rId4"/>
              </a:buBlip>
              <a:tabLst>
                <a:tab pos="1704975" algn="l"/>
              </a:tabLst>
              <a:defRPr lang="de-DE" sz="1600" kern="1200" dirty="0" err="1" smtClean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lang="de-DE" sz="1600" kern="1200" dirty="0" smtClean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+mn-cs"/>
              </a:defRPr>
            </a:lvl2pPr>
            <a:lvl3pPr marL="914400" marR="0" indent="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de-DE" sz="1600" kern="1200" dirty="0" smtClean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lang="de-DE" sz="1600" kern="1200" dirty="0" smtClean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lang="de-DE" sz="1600" kern="12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ts val="1800"/>
              </a:lnSpc>
              <a:buFontTx/>
              <a:buChar char="-"/>
            </a:pPr>
            <a:endParaRPr lang="de-DE" dirty="0">
              <a:solidFill>
                <a:schemeClr val="bg1">
                  <a:lumMod val="50000"/>
                </a:schemeClr>
              </a:solidFill>
            </a:endParaRPr>
          </a:p>
          <a:p>
            <a:pPr lvl="1">
              <a:lnSpc>
                <a:spcPct val="120000"/>
              </a:lnSpc>
              <a:spcBef>
                <a:spcPct val="0"/>
              </a:spcBef>
            </a:pPr>
            <a:r>
              <a:rPr lang="de-DE" altLang="de-DE" sz="1800" dirty="0" err="1"/>
              <a:t>clear</a:t>
            </a:r>
            <a:r>
              <a:rPr lang="de-DE" altLang="de-DE" sz="1800" dirty="0"/>
              <a:t> </a:t>
            </a:r>
            <a:r>
              <a:rPr lang="de-DE" altLang="de-DE" sz="1800" dirty="0" err="1"/>
              <a:t>structure</a:t>
            </a:r>
            <a:endParaRPr lang="de-DE" altLang="de-DE" sz="1800" dirty="0"/>
          </a:p>
          <a:p>
            <a:pPr lvl="1">
              <a:lnSpc>
                <a:spcPct val="120000"/>
              </a:lnSpc>
              <a:spcBef>
                <a:spcPct val="0"/>
              </a:spcBef>
            </a:pPr>
            <a:r>
              <a:rPr lang="de-DE" altLang="de-DE" sz="1800" dirty="0" err="1"/>
              <a:t>speak</a:t>
            </a:r>
            <a:r>
              <a:rPr lang="de-DE" altLang="de-DE" sz="1800" dirty="0"/>
              <a:t> </a:t>
            </a:r>
            <a:r>
              <a:rPr lang="de-DE" altLang="de-DE" sz="1800" dirty="0" err="1"/>
              <a:t>fluently</a:t>
            </a:r>
            <a:endParaRPr lang="de-DE" altLang="de-DE" sz="1800" dirty="0"/>
          </a:p>
          <a:p>
            <a:pPr lvl="1">
              <a:lnSpc>
                <a:spcPct val="120000"/>
              </a:lnSpc>
              <a:spcBef>
                <a:spcPct val="0"/>
              </a:spcBef>
            </a:pPr>
            <a:r>
              <a:rPr lang="de-DE" altLang="de-DE" sz="1800" dirty="0" err="1"/>
              <a:t>speak</a:t>
            </a:r>
            <a:r>
              <a:rPr lang="de-DE" altLang="de-DE" sz="1800" dirty="0"/>
              <a:t> </a:t>
            </a:r>
            <a:r>
              <a:rPr lang="de-DE" altLang="de-DE" sz="1800" dirty="0" err="1"/>
              <a:t>clearly</a:t>
            </a:r>
            <a:endParaRPr lang="de-DE" altLang="de-DE" sz="1800" dirty="0"/>
          </a:p>
          <a:p>
            <a:pPr lvl="1">
              <a:lnSpc>
                <a:spcPct val="120000"/>
              </a:lnSpc>
              <a:spcBef>
                <a:spcPct val="0"/>
              </a:spcBef>
            </a:pPr>
            <a:r>
              <a:rPr lang="de-DE" altLang="de-DE" sz="1800" dirty="0" err="1"/>
              <a:t>good</a:t>
            </a:r>
            <a:r>
              <a:rPr lang="de-DE" altLang="de-DE" sz="1800" dirty="0"/>
              <a:t> </a:t>
            </a:r>
            <a:r>
              <a:rPr lang="de-DE" altLang="de-DE" sz="1800" dirty="0" err="1"/>
              <a:t>body</a:t>
            </a:r>
            <a:r>
              <a:rPr lang="de-DE" altLang="de-DE" sz="1800" dirty="0"/>
              <a:t> </a:t>
            </a:r>
            <a:r>
              <a:rPr lang="de-DE" altLang="de-DE" sz="1800" dirty="0" err="1"/>
              <a:t>language</a:t>
            </a:r>
            <a:endParaRPr lang="de-DE" altLang="de-DE" sz="1800" dirty="0"/>
          </a:p>
          <a:p>
            <a:pPr lvl="1">
              <a:lnSpc>
                <a:spcPct val="120000"/>
              </a:lnSpc>
              <a:spcBef>
                <a:spcPct val="0"/>
              </a:spcBef>
            </a:pPr>
            <a:r>
              <a:rPr lang="de-DE" altLang="de-DE" sz="1800" dirty="0" err="1"/>
              <a:t>keep</a:t>
            </a:r>
            <a:r>
              <a:rPr lang="de-DE" altLang="de-DE" sz="1800" dirty="0"/>
              <a:t> </a:t>
            </a:r>
            <a:r>
              <a:rPr lang="de-DE" altLang="de-DE" sz="1800" dirty="0" err="1"/>
              <a:t>eye</a:t>
            </a:r>
            <a:r>
              <a:rPr lang="de-DE" altLang="de-DE" sz="1800" dirty="0"/>
              <a:t> </a:t>
            </a:r>
            <a:r>
              <a:rPr lang="de-DE" altLang="de-DE" sz="1800" dirty="0" err="1"/>
              <a:t>contact</a:t>
            </a:r>
            <a:endParaRPr lang="de-DE" altLang="de-DE" sz="1800" dirty="0"/>
          </a:p>
          <a:p>
            <a:pPr lvl="1">
              <a:lnSpc>
                <a:spcPct val="120000"/>
              </a:lnSpc>
              <a:spcBef>
                <a:spcPct val="0"/>
              </a:spcBef>
            </a:pPr>
            <a:r>
              <a:rPr lang="de-DE" altLang="de-DE" sz="1800" dirty="0" err="1"/>
              <a:t>audience</a:t>
            </a:r>
            <a:r>
              <a:rPr lang="de-DE" altLang="de-DE" sz="1800" dirty="0"/>
              <a:t> </a:t>
            </a:r>
            <a:r>
              <a:rPr lang="de-DE" altLang="de-DE" sz="1800" dirty="0" err="1"/>
              <a:t>involvement</a:t>
            </a:r>
            <a:endParaRPr lang="de-DE" altLang="de-DE" sz="1800" dirty="0"/>
          </a:p>
          <a:p>
            <a:pPr lvl="1">
              <a:lnSpc>
                <a:spcPct val="120000"/>
              </a:lnSpc>
              <a:spcBef>
                <a:spcPct val="0"/>
              </a:spcBef>
            </a:pPr>
            <a:r>
              <a:rPr lang="de-DE" altLang="de-DE" sz="1800" dirty="0" err="1"/>
              <a:t>good</a:t>
            </a:r>
            <a:r>
              <a:rPr lang="de-DE" altLang="de-DE" sz="1800" dirty="0"/>
              <a:t> </a:t>
            </a:r>
            <a:r>
              <a:rPr lang="de-DE" altLang="de-DE" sz="1800" dirty="0" err="1"/>
              <a:t>visuals</a:t>
            </a:r>
            <a:endParaRPr lang="de-DE" altLang="de-DE" sz="1800" dirty="0"/>
          </a:p>
          <a:p>
            <a:pPr lvl="1">
              <a:lnSpc>
                <a:spcPct val="120000"/>
              </a:lnSpc>
              <a:spcBef>
                <a:spcPct val="0"/>
              </a:spcBef>
            </a:pPr>
            <a:r>
              <a:rPr lang="de-DE" altLang="de-DE" sz="1800" dirty="0" err="1" smtClean="0"/>
              <a:t>good</a:t>
            </a:r>
            <a:r>
              <a:rPr lang="de-DE" altLang="de-DE" sz="1800" dirty="0" smtClean="0"/>
              <a:t> </a:t>
            </a:r>
            <a:r>
              <a:rPr lang="de-DE" altLang="de-DE" sz="1800" dirty="0" err="1" smtClean="0"/>
              <a:t>preparation</a:t>
            </a:r>
            <a:endParaRPr lang="de-DE" altLang="de-DE" sz="1800" dirty="0" smtClean="0"/>
          </a:p>
          <a:p>
            <a:pPr lvl="1">
              <a:lnSpc>
                <a:spcPct val="120000"/>
              </a:lnSpc>
              <a:spcBef>
                <a:spcPct val="0"/>
              </a:spcBef>
            </a:pPr>
            <a:r>
              <a:rPr lang="de-DE" altLang="de-DE" sz="1800" dirty="0" err="1" smtClean="0"/>
              <a:t>make</a:t>
            </a:r>
            <a:r>
              <a:rPr lang="de-DE" altLang="de-DE" sz="1800" dirty="0" smtClean="0"/>
              <a:t> </a:t>
            </a:r>
            <a:r>
              <a:rPr lang="de-DE" altLang="de-DE" sz="1800" dirty="0" err="1"/>
              <a:t>it</a:t>
            </a:r>
            <a:r>
              <a:rPr lang="de-DE" altLang="de-DE" sz="1800" dirty="0"/>
              <a:t> </a:t>
            </a:r>
            <a:r>
              <a:rPr lang="de-DE" altLang="de-DE" sz="1800" dirty="0" err="1"/>
              <a:t>interesting</a:t>
            </a:r>
            <a:r>
              <a:rPr lang="de-DE" altLang="de-DE" sz="1800" dirty="0"/>
              <a:t> </a:t>
            </a:r>
            <a:r>
              <a:rPr lang="de-DE" altLang="de-DE" sz="1800" dirty="0" err="1"/>
              <a:t>and</a:t>
            </a:r>
            <a:r>
              <a:rPr lang="de-DE" altLang="de-DE" sz="1800" dirty="0"/>
              <a:t> relevant</a:t>
            </a:r>
          </a:p>
          <a:p>
            <a:pPr lvl="1">
              <a:lnSpc>
                <a:spcPct val="120000"/>
              </a:lnSpc>
              <a:spcBef>
                <a:spcPct val="0"/>
              </a:spcBef>
            </a:pPr>
            <a:r>
              <a:rPr lang="de-DE" altLang="de-DE" sz="1800" dirty="0" err="1"/>
              <a:t>intonation</a:t>
            </a:r>
            <a:endParaRPr lang="de-DE" altLang="de-DE" sz="1800" dirty="0"/>
          </a:p>
          <a:p>
            <a:pPr algn="l">
              <a:lnSpc>
                <a:spcPts val="1800"/>
              </a:lnSpc>
              <a:buFontTx/>
              <a:buChar char="-"/>
            </a:pPr>
            <a:endParaRPr lang="de-DE" dirty="0">
              <a:solidFill>
                <a:schemeClr val="bg1">
                  <a:lumMod val="50000"/>
                </a:schemeClr>
              </a:solidFill>
            </a:endParaRPr>
          </a:p>
          <a:p>
            <a:pPr algn="l">
              <a:lnSpc>
                <a:spcPts val="1800"/>
              </a:lnSpc>
              <a:buFontTx/>
              <a:buChar char="-"/>
            </a:pPr>
            <a:endParaRPr lang="de-DE" dirty="0" smtClean="0">
              <a:solidFill>
                <a:schemeClr val="bg1">
                  <a:lumMod val="50000"/>
                </a:schemeClr>
              </a:solidFill>
            </a:endParaRPr>
          </a:p>
          <a:p>
            <a:pPr algn="l">
              <a:lnSpc>
                <a:spcPts val="1800"/>
              </a:lnSpc>
              <a:buFontTx/>
              <a:buChar char="-"/>
            </a:pPr>
            <a:endParaRPr lang="de-DE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14" name="Textplatzhalter 5">
            <a:extLst>
              <a:ext uri="{FF2B5EF4-FFF2-40B4-BE49-F238E27FC236}">
                <a16:creationId xmlns:a16="http://schemas.microsoft.com/office/drawing/2014/main" xmlns="" id="{E483239E-B7FF-4473-BEC7-2F375E16713D}"/>
              </a:ext>
            </a:extLst>
          </p:cNvPr>
          <p:cNvSpPr txBox="1">
            <a:spLocks/>
          </p:cNvSpPr>
          <p:nvPr/>
        </p:nvSpPr>
        <p:spPr>
          <a:xfrm>
            <a:off x="6096000" y="2501342"/>
            <a:ext cx="4830846" cy="2662842"/>
          </a:xfrm>
          <a:prstGeom prst="rect">
            <a:avLst/>
          </a:prstGeom>
        </p:spPr>
        <p:txBody>
          <a:bodyPr/>
          <a:lstStyle>
            <a:lvl1pPr marL="285750" indent="-285750" algn="ctr" defTabSz="914400" rtl="0" eaLnBrk="1" latinLnBrk="0" hangingPunct="1">
              <a:lnSpc>
                <a:spcPts val="2400"/>
              </a:lnSpc>
              <a:spcBef>
                <a:spcPts val="1000"/>
              </a:spcBef>
              <a:buSzPct val="65000"/>
              <a:buFontTx/>
              <a:buBlip>
                <a:blip r:embed="rId4"/>
              </a:buBlip>
              <a:tabLst>
                <a:tab pos="1704975" algn="l"/>
              </a:tabLst>
              <a:defRPr lang="de-DE" sz="1600" kern="1200" dirty="0" err="1" smtClean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lang="de-DE" sz="1600" kern="1200" dirty="0" smtClean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+mn-cs"/>
              </a:defRPr>
            </a:lvl2pPr>
            <a:lvl3pPr marL="914400" marR="0" indent="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de-DE" sz="1600" kern="1200" dirty="0" smtClean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lang="de-DE" sz="1600" kern="1200" dirty="0" smtClean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lang="de-DE" sz="1600" kern="12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ts val="1800"/>
              </a:lnSpc>
            </a:pPr>
            <a:endParaRPr lang="de-DE" dirty="0">
              <a:solidFill>
                <a:srgbClr val="343434"/>
              </a:solidFill>
            </a:endParaRPr>
          </a:p>
        </p:txBody>
      </p:sp>
      <p:sp>
        <p:nvSpPr>
          <p:cNvPr id="3" name="Textfeld 2"/>
          <p:cNvSpPr txBox="1"/>
          <p:nvPr/>
        </p:nvSpPr>
        <p:spPr>
          <a:xfrm>
            <a:off x="6095998" y="2449583"/>
            <a:ext cx="3927895" cy="30285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1">
              <a:lnSpc>
                <a:spcPct val="120000"/>
              </a:lnSpc>
              <a:spcBef>
                <a:spcPct val="0"/>
              </a:spcBef>
            </a:pPr>
            <a:r>
              <a:rPr lang="de-DE" altLang="de-DE" sz="1600" dirty="0" err="1">
                <a:solidFill>
                  <a:schemeClr val="bg1"/>
                </a:solidFill>
              </a:rPr>
              <a:t>pronunciation</a:t>
            </a:r>
            <a:endParaRPr lang="de-DE" altLang="de-DE" sz="1600" dirty="0">
              <a:solidFill>
                <a:schemeClr val="bg1"/>
              </a:solidFill>
            </a:endParaRPr>
          </a:p>
          <a:p>
            <a:pPr lvl="1">
              <a:lnSpc>
                <a:spcPct val="120000"/>
              </a:lnSpc>
              <a:spcBef>
                <a:spcPct val="0"/>
              </a:spcBef>
            </a:pPr>
            <a:r>
              <a:rPr lang="de-DE" altLang="de-DE" sz="1600" dirty="0" err="1"/>
              <a:t>be</a:t>
            </a:r>
            <a:r>
              <a:rPr lang="de-DE" altLang="de-DE" sz="1600" dirty="0"/>
              <a:t> </a:t>
            </a:r>
            <a:r>
              <a:rPr lang="de-DE" altLang="de-DE" sz="1600" dirty="0" err="1"/>
              <a:t>able</a:t>
            </a:r>
            <a:r>
              <a:rPr lang="de-DE" altLang="de-DE" sz="1600" dirty="0"/>
              <a:t> </a:t>
            </a:r>
            <a:r>
              <a:rPr lang="de-DE" altLang="de-DE" sz="1600" dirty="0" err="1"/>
              <a:t>to</a:t>
            </a:r>
            <a:r>
              <a:rPr lang="de-DE" altLang="de-DE" sz="1600" dirty="0"/>
              <a:t> </a:t>
            </a:r>
            <a:r>
              <a:rPr lang="de-DE" altLang="de-DE" sz="1600" dirty="0" err="1"/>
              <a:t>say</a:t>
            </a:r>
            <a:r>
              <a:rPr lang="de-DE" altLang="de-DE" sz="1600" dirty="0"/>
              <a:t> </a:t>
            </a:r>
            <a:r>
              <a:rPr lang="de-DE" altLang="de-DE" sz="1600" dirty="0" err="1"/>
              <a:t>it</a:t>
            </a:r>
            <a:r>
              <a:rPr lang="de-DE" altLang="de-DE" sz="1600" dirty="0"/>
              <a:t> in simple </a:t>
            </a:r>
            <a:r>
              <a:rPr lang="de-DE" altLang="de-DE" sz="1600" dirty="0" err="1" smtClean="0"/>
              <a:t>words</a:t>
            </a:r>
            <a:endParaRPr lang="de-DE" altLang="de-DE" sz="1600" dirty="0" smtClean="0"/>
          </a:p>
          <a:p>
            <a:pPr lvl="1">
              <a:lnSpc>
                <a:spcPct val="120000"/>
              </a:lnSpc>
              <a:spcBef>
                <a:spcPct val="0"/>
              </a:spcBef>
            </a:pPr>
            <a:r>
              <a:rPr lang="de-DE" altLang="de-DE" sz="1600" dirty="0"/>
              <a:t>easy </a:t>
            </a:r>
            <a:r>
              <a:rPr lang="de-DE" altLang="de-DE" sz="1600" dirty="0" err="1"/>
              <a:t>to</a:t>
            </a:r>
            <a:r>
              <a:rPr lang="de-DE" altLang="de-DE" sz="1600" dirty="0"/>
              <a:t> follow</a:t>
            </a:r>
          </a:p>
          <a:p>
            <a:pPr lvl="1">
              <a:lnSpc>
                <a:spcPct val="120000"/>
              </a:lnSpc>
              <a:spcBef>
                <a:spcPct val="0"/>
              </a:spcBef>
            </a:pPr>
            <a:r>
              <a:rPr lang="de-DE" altLang="de-DE" sz="1600" dirty="0" err="1"/>
              <a:t>no</a:t>
            </a:r>
            <a:r>
              <a:rPr lang="de-DE" altLang="de-DE" sz="1600" dirty="0"/>
              <a:t> funny </a:t>
            </a:r>
            <a:r>
              <a:rPr lang="de-DE" altLang="de-DE" sz="1600" dirty="0" err="1"/>
              <a:t>gestures</a:t>
            </a:r>
            <a:endParaRPr lang="de-DE" altLang="de-DE" sz="1600" dirty="0"/>
          </a:p>
          <a:p>
            <a:pPr lvl="1">
              <a:lnSpc>
                <a:spcPct val="120000"/>
              </a:lnSpc>
              <a:spcBef>
                <a:spcPct val="0"/>
              </a:spcBef>
            </a:pPr>
            <a:r>
              <a:rPr lang="de-DE" altLang="de-DE" sz="1600" dirty="0" err="1"/>
              <a:t>use</a:t>
            </a:r>
            <a:r>
              <a:rPr lang="de-DE" altLang="de-DE" sz="1600" dirty="0"/>
              <a:t> </a:t>
            </a:r>
            <a:r>
              <a:rPr lang="de-DE" altLang="de-DE" sz="1600" dirty="0" err="1"/>
              <a:t>of</a:t>
            </a:r>
            <a:r>
              <a:rPr lang="de-DE" altLang="de-DE" sz="1600" dirty="0"/>
              <a:t> </a:t>
            </a:r>
            <a:r>
              <a:rPr lang="de-DE" altLang="de-DE" sz="1600" dirty="0" err="1"/>
              <a:t>pauses</a:t>
            </a:r>
            <a:endParaRPr lang="de-DE" altLang="de-DE" sz="1600" dirty="0"/>
          </a:p>
          <a:p>
            <a:pPr lvl="1">
              <a:lnSpc>
                <a:spcPct val="120000"/>
              </a:lnSpc>
              <a:spcBef>
                <a:spcPct val="0"/>
              </a:spcBef>
            </a:pPr>
            <a:r>
              <a:rPr lang="de-DE" altLang="de-DE" sz="1600" dirty="0"/>
              <a:t>…</a:t>
            </a:r>
          </a:p>
          <a:p>
            <a:pPr lvl="1">
              <a:lnSpc>
                <a:spcPct val="120000"/>
              </a:lnSpc>
              <a:spcBef>
                <a:spcPct val="0"/>
              </a:spcBef>
            </a:pPr>
            <a:r>
              <a:rPr lang="de-DE" altLang="de-DE" sz="1600" dirty="0"/>
              <a:t>…</a:t>
            </a:r>
          </a:p>
          <a:p>
            <a:pPr lvl="1">
              <a:lnSpc>
                <a:spcPct val="120000"/>
              </a:lnSpc>
              <a:spcBef>
                <a:spcPct val="0"/>
              </a:spcBef>
            </a:pPr>
            <a:endParaRPr lang="de-DE" altLang="de-DE" sz="1600" dirty="0" smtClean="0"/>
          </a:p>
          <a:p>
            <a:pPr lvl="1">
              <a:lnSpc>
                <a:spcPct val="120000"/>
              </a:lnSpc>
              <a:spcBef>
                <a:spcPct val="0"/>
              </a:spcBef>
            </a:pPr>
            <a:endParaRPr lang="de-DE" altLang="de-DE" sz="1600" dirty="0"/>
          </a:p>
          <a:p>
            <a:endParaRPr lang="de-DE" dirty="0"/>
          </a:p>
        </p:txBody>
      </p:sp>
      <p:pic>
        <p:nvPicPr>
          <p:cNvPr id="4" name="Audio 3">
            <a:hlinkClick r:id="" action="ppaction://media"/>
          </p:cNvPr>
          <p:cNvPicPr>
            <a:picLocks noChangeAspect="1"/>
          </p:cNvPicPr>
          <p:nvPr>
            <a:audi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5"/>
          <a:stretch>
            <a:fillRect/>
          </a:stretch>
        </p:blipFill>
        <p:spPr>
          <a:xfrm>
            <a:off x="11488738" y="6154738"/>
            <a:ext cx="487362" cy="4873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147810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21943"/>
    </mc:Choice>
    <mc:Fallback xmlns="">
      <p:transition spd="slow" advTm="21943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 isNarration="1">
              <p:cMediaNode vol="80000" showWhenStopped="0">
                <p:cTn id="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4"/>
                </p:tgtEl>
              </p:cMediaNode>
            </p:audio>
          </p:childTnLst>
        </p:cTn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 8">
            <a:extLst>
              <a:ext uri="{FF2B5EF4-FFF2-40B4-BE49-F238E27FC236}">
                <a16:creationId xmlns:a16="http://schemas.microsoft.com/office/drawing/2014/main" xmlns="" id="{48D8A2D3-B443-4986-B1ED-38333861808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e-DE" dirty="0" smtClean="0">
                <a:solidFill>
                  <a:srgbClr val="343434"/>
                </a:solidFill>
              </a:rPr>
              <a:t>English </a:t>
            </a:r>
            <a:r>
              <a:rPr lang="de-DE" dirty="0" smtClean="0">
                <a:solidFill>
                  <a:srgbClr val="343434"/>
                </a:solidFill>
              </a:rPr>
              <a:t>III</a:t>
            </a:r>
            <a:endParaRPr lang="de-DE" dirty="0">
              <a:solidFill>
                <a:srgbClr val="343434"/>
              </a:solidFill>
            </a:endParaRPr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xmlns="" id="{18B4579A-4238-40E2-906C-8E6A9538D842}"/>
              </a:ext>
            </a:extLst>
          </p:cNvPr>
          <p:cNvSpPr txBox="1">
            <a:spLocks/>
          </p:cNvSpPr>
          <p:nvPr/>
        </p:nvSpPr>
        <p:spPr>
          <a:xfrm>
            <a:off x="852784" y="1889341"/>
            <a:ext cx="4883782" cy="330864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IN" sz="2000" b="1" kern="1200" baseline="0" dirty="0">
                <a:solidFill>
                  <a:srgbClr val="002B6A"/>
                </a:solidFill>
                <a:latin typeface="Roboto Cn" pitchFamily="2" charset="0"/>
                <a:ea typeface="Roboto Cn" pitchFamily="2" charset="0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rgbClr val="FFFFFF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+mn-cs"/>
              </a:defRPr>
            </a:lvl2pPr>
            <a:lvl3pPr marL="914400" marR="0" indent="0" algn="ctr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kern="1200">
                <a:solidFill>
                  <a:srgbClr val="FFFFFF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rgbClr val="FFFFFF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rgbClr val="FFFFFF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1800" dirty="0" smtClean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What makes a good presentation?</a:t>
            </a:r>
            <a:endParaRPr lang="en-US" sz="1800" dirty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11" name="Textplatzhalter 5">
            <a:extLst>
              <a:ext uri="{FF2B5EF4-FFF2-40B4-BE49-F238E27FC236}">
                <a16:creationId xmlns:a16="http://schemas.microsoft.com/office/drawing/2014/main" xmlns="" id="{07259BD0-8F46-453D-852A-6EDA7FC8F2F5}"/>
              </a:ext>
            </a:extLst>
          </p:cNvPr>
          <p:cNvSpPr txBox="1">
            <a:spLocks/>
          </p:cNvSpPr>
          <p:nvPr/>
        </p:nvSpPr>
        <p:spPr>
          <a:xfrm>
            <a:off x="821018" y="2130725"/>
            <a:ext cx="4639504" cy="3830128"/>
          </a:xfrm>
          <a:prstGeom prst="rect">
            <a:avLst/>
          </a:prstGeom>
        </p:spPr>
        <p:txBody>
          <a:bodyPr/>
          <a:lstStyle>
            <a:lvl1pPr marL="285750" indent="-285750" algn="ctr" defTabSz="914400" rtl="0" eaLnBrk="1" latinLnBrk="0" hangingPunct="1">
              <a:lnSpc>
                <a:spcPts val="2400"/>
              </a:lnSpc>
              <a:spcBef>
                <a:spcPts val="1000"/>
              </a:spcBef>
              <a:buSzPct val="65000"/>
              <a:buFontTx/>
              <a:buBlip>
                <a:blip r:embed="rId4"/>
              </a:buBlip>
              <a:tabLst>
                <a:tab pos="1704975" algn="l"/>
              </a:tabLst>
              <a:defRPr lang="de-DE" sz="1600" kern="1200" dirty="0" err="1" smtClean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lang="de-DE" sz="1600" kern="1200" dirty="0" smtClean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+mn-cs"/>
              </a:defRPr>
            </a:lvl2pPr>
            <a:lvl3pPr marL="914400" marR="0" indent="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de-DE" sz="1600" kern="1200" dirty="0" smtClean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lang="de-DE" sz="1600" kern="1200" dirty="0" smtClean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lang="de-DE" sz="1600" kern="12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ts val="1800"/>
              </a:lnSpc>
              <a:buFontTx/>
              <a:buChar char="-"/>
            </a:pPr>
            <a:endParaRPr lang="de-DE" dirty="0">
              <a:solidFill>
                <a:schemeClr val="bg1">
                  <a:lumMod val="50000"/>
                </a:schemeClr>
              </a:solidFill>
            </a:endParaRPr>
          </a:p>
          <a:p>
            <a:pPr lvl="1">
              <a:lnSpc>
                <a:spcPct val="120000"/>
              </a:lnSpc>
              <a:spcBef>
                <a:spcPct val="0"/>
              </a:spcBef>
            </a:pPr>
            <a:r>
              <a:rPr lang="de-DE" altLang="de-DE" sz="1800" dirty="0" err="1"/>
              <a:t>clear</a:t>
            </a:r>
            <a:r>
              <a:rPr lang="de-DE" altLang="de-DE" sz="1800" dirty="0"/>
              <a:t> </a:t>
            </a:r>
            <a:r>
              <a:rPr lang="de-DE" altLang="de-DE" sz="1800" dirty="0" err="1"/>
              <a:t>structure</a:t>
            </a:r>
            <a:endParaRPr lang="de-DE" altLang="de-DE" sz="1800" dirty="0"/>
          </a:p>
          <a:p>
            <a:pPr lvl="1">
              <a:lnSpc>
                <a:spcPct val="120000"/>
              </a:lnSpc>
              <a:spcBef>
                <a:spcPct val="0"/>
              </a:spcBef>
            </a:pPr>
            <a:r>
              <a:rPr lang="de-DE" altLang="de-DE" sz="1800" dirty="0" err="1"/>
              <a:t>speak</a:t>
            </a:r>
            <a:r>
              <a:rPr lang="de-DE" altLang="de-DE" sz="1800" dirty="0"/>
              <a:t> </a:t>
            </a:r>
            <a:r>
              <a:rPr lang="de-DE" altLang="de-DE" sz="1800" dirty="0" err="1"/>
              <a:t>fluently</a:t>
            </a:r>
            <a:endParaRPr lang="de-DE" altLang="de-DE" sz="1800" dirty="0"/>
          </a:p>
          <a:p>
            <a:pPr lvl="1">
              <a:lnSpc>
                <a:spcPct val="120000"/>
              </a:lnSpc>
              <a:spcBef>
                <a:spcPct val="0"/>
              </a:spcBef>
            </a:pPr>
            <a:r>
              <a:rPr lang="de-DE" altLang="de-DE" sz="1800" dirty="0" err="1"/>
              <a:t>speak</a:t>
            </a:r>
            <a:r>
              <a:rPr lang="de-DE" altLang="de-DE" sz="1800" dirty="0"/>
              <a:t> </a:t>
            </a:r>
            <a:r>
              <a:rPr lang="de-DE" altLang="de-DE" sz="1800" dirty="0" err="1"/>
              <a:t>clearly</a:t>
            </a:r>
            <a:endParaRPr lang="de-DE" altLang="de-DE" sz="1800" dirty="0"/>
          </a:p>
          <a:p>
            <a:pPr lvl="1">
              <a:lnSpc>
                <a:spcPct val="120000"/>
              </a:lnSpc>
              <a:spcBef>
                <a:spcPct val="0"/>
              </a:spcBef>
            </a:pPr>
            <a:r>
              <a:rPr lang="de-DE" altLang="de-DE" sz="1800" dirty="0" err="1"/>
              <a:t>good</a:t>
            </a:r>
            <a:r>
              <a:rPr lang="de-DE" altLang="de-DE" sz="1800" dirty="0"/>
              <a:t> </a:t>
            </a:r>
            <a:r>
              <a:rPr lang="de-DE" altLang="de-DE" sz="1800" dirty="0" err="1"/>
              <a:t>body</a:t>
            </a:r>
            <a:r>
              <a:rPr lang="de-DE" altLang="de-DE" sz="1800" dirty="0"/>
              <a:t> </a:t>
            </a:r>
            <a:r>
              <a:rPr lang="de-DE" altLang="de-DE" sz="1800" dirty="0" err="1"/>
              <a:t>language</a:t>
            </a:r>
            <a:endParaRPr lang="de-DE" altLang="de-DE" sz="1800" dirty="0"/>
          </a:p>
          <a:p>
            <a:pPr lvl="1">
              <a:lnSpc>
                <a:spcPct val="120000"/>
              </a:lnSpc>
              <a:spcBef>
                <a:spcPct val="0"/>
              </a:spcBef>
            </a:pPr>
            <a:r>
              <a:rPr lang="de-DE" altLang="de-DE" sz="1800" dirty="0" err="1"/>
              <a:t>keep</a:t>
            </a:r>
            <a:r>
              <a:rPr lang="de-DE" altLang="de-DE" sz="1800" dirty="0"/>
              <a:t> </a:t>
            </a:r>
            <a:r>
              <a:rPr lang="de-DE" altLang="de-DE" sz="1800" dirty="0" err="1"/>
              <a:t>eye</a:t>
            </a:r>
            <a:r>
              <a:rPr lang="de-DE" altLang="de-DE" sz="1800" dirty="0"/>
              <a:t> </a:t>
            </a:r>
            <a:r>
              <a:rPr lang="de-DE" altLang="de-DE" sz="1800" dirty="0" err="1"/>
              <a:t>contact</a:t>
            </a:r>
            <a:endParaRPr lang="de-DE" altLang="de-DE" sz="1800" dirty="0"/>
          </a:p>
          <a:p>
            <a:pPr lvl="1">
              <a:lnSpc>
                <a:spcPct val="120000"/>
              </a:lnSpc>
              <a:spcBef>
                <a:spcPct val="0"/>
              </a:spcBef>
            </a:pPr>
            <a:r>
              <a:rPr lang="de-DE" altLang="de-DE" sz="1800" dirty="0" err="1"/>
              <a:t>audience</a:t>
            </a:r>
            <a:r>
              <a:rPr lang="de-DE" altLang="de-DE" sz="1800" dirty="0"/>
              <a:t> </a:t>
            </a:r>
            <a:r>
              <a:rPr lang="de-DE" altLang="de-DE" sz="1800" dirty="0" err="1"/>
              <a:t>involvement</a:t>
            </a:r>
            <a:endParaRPr lang="de-DE" altLang="de-DE" sz="1800" dirty="0"/>
          </a:p>
          <a:p>
            <a:pPr lvl="1">
              <a:lnSpc>
                <a:spcPct val="120000"/>
              </a:lnSpc>
              <a:spcBef>
                <a:spcPct val="0"/>
              </a:spcBef>
            </a:pPr>
            <a:r>
              <a:rPr lang="de-DE" altLang="de-DE" sz="1800" dirty="0" err="1"/>
              <a:t>good</a:t>
            </a:r>
            <a:r>
              <a:rPr lang="de-DE" altLang="de-DE" sz="1800" dirty="0"/>
              <a:t> </a:t>
            </a:r>
            <a:r>
              <a:rPr lang="de-DE" altLang="de-DE" sz="1800" dirty="0" err="1"/>
              <a:t>visuals</a:t>
            </a:r>
            <a:endParaRPr lang="de-DE" altLang="de-DE" sz="1800" dirty="0"/>
          </a:p>
          <a:p>
            <a:pPr lvl="1">
              <a:lnSpc>
                <a:spcPct val="120000"/>
              </a:lnSpc>
              <a:spcBef>
                <a:spcPct val="0"/>
              </a:spcBef>
            </a:pPr>
            <a:r>
              <a:rPr lang="de-DE" altLang="de-DE" sz="1800" dirty="0" err="1" smtClean="0"/>
              <a:t>good</a:t>
            </a:r>
            <a:r>
              <a:rPr lang="de-DE" altLang="de-DE" sz="1800" dirty="0" smtClean="0"/>
              <a:t> </a:t>
            </a:r>
            <a:r>
              <a:rPr lang="de-DE" altLang="de-DE" sz="1800" dirty="0" err="1" smtClean="0"/>
              <a:t>preparation</a:t>
            </a:r>
            <a:endParaRPr lang="de-DE" altLang="de-DE" sz="1800" dirty="0" smtClean="0"/>
          </a:p>
          <a:p>
            <a:pPr lvl="1">
              <a:lnSpc>
                <a:spcPct val="120000"/>
              </a:lnSpc>
              <a:spcBef>
                <a:spcPct val="0"/>
              </a:spcBef>
            </a:pPr>
            <a:r>
              <a:rPr lang="de-DE" altLang="de-DE" sz="1800" dirty="0" err="1" smtClean="0"/>
              <a:t>make</a:t>
            </a:r>
            <a:r>
              <a:rPr lang="de-DE" altLang="de-DE" sz="1800" dirty="0" smtClean="0"/>
              <a:t> </a:t>
            </a:r>
            <a:r>
              <a:rPr lang="de-DE" altLang="de-DE" sz="1800" dirty="0" err="1"/>
              <a:t>it</a:t>
            </a:r>
            <a:r>
              <a:rPr lang="de-DE" altLang="de-DE" sz="1800" dirty="0"/>
              <a:t> </a:t>
            </a:r>
            <a:r>
              <a:rPr lang="de-DE" altLang="de-DE" sz="1800" dirty="0" err="1"/>
              <a:t>interesting</a:t>
            </a:r>
            <a:r>
              <a:rPr lang="de-DE" altLang="de-DE" sz="1800" dirty="0"/>
              <a:t> </a:t>
            </a:r>
            <a:r>
              <a:rPr lang="de-DE" altLang="de-DE" sz="1800" dirty="0" err="1"/>
              <a:t>and</a:t>
            </a:r>
            <a:r>
              <a:rPr lang="de-DE" altLang="de-DE" sz="1800" dirty="0"/>
              <a:t> relevant</a:t>
            </a:r>
          </a:p>
          <a:p>
            <a:pPr lvl="1">
              <a:lnSpc>
                <a:spcPct val="120000"/>
              </a:lnSpc>
              <a:spcBef>
                <a:spcPct val="0"/>
              </a:spcBef>
            </a:pPr>
            <a:r>
              <a:rPr lang="de-DE" altLang="de-DE" sz="1800" dirty="0" err="1"/>
              <a:t>intonation</a:t>
            </a:r>
            <a:endParaRPr lang="de-DE" altLang="de-DE" sz="1800" dirty="0"/>
          </a:p>
          <a:p>
            <a:pPr algn="l">
              <a:lnSpc>
                <a:spcPts val="1800"/>
              </a:lnSpc>
              <a:buFontTx/>
              <a:buChar char="-"/>
            </a:pPr>
            <a:endParaRPr lang="de-DE" dirty="0">
              <a:solidFill>
                <a:schemeClr val="bg1">
                  <a:lumMod val="50000"/>
                </a:schemeClr>
              </a:solidFill>
            </a:endParaRPr>
          </a:p>
          <a:p>
            <a:pPr algn="l">
              <a:lnSpc>
                <a:spcPts val="1800"/>
              </a:lnSpc>
              <a:buFontTx/>
              <a:buChar char="-"/>
            </a:pPr>
            <a:endParaRPr lang="de-DE" dirty="0" smtClean="0">
              <a:solidFill>
                <a:schemeClr val="bg1">
                  <a:lumMod val="50000"/>
                </a:schemeClr>
              </a:solidFill>
            </a:endParaRPr>
          </a:p>
          <a:p>
            <a:pPr algn="l">
              <a:lnSpc>
                <a:spcPts val="1800"/>
              </a:lnSpc>
              <a:buFontTx/>
              <a:buChar char="-"/>
            </a:pPr>
            <a:endParaRPr lang="de-DE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14" name="Textplatzhalter 5">
            <a:extLst>
              <a:ext uri="{FF2B5EF4-FFF2-40B4-BE49-F238E27FC236}">
                <a16:creationId xmlns:a16="http://schemas.microsoft.com/office/drawing/2014/main" xmlns="" id="{E483239E-B7FF-4473-BEC7-2F375E16713D}"/>
              </a:ext>
            </a:extLst>
          </p:cNvPr>
          <p:cNvSpPr txBox="1">
            <a:spLocks/>
          </p:cNvSpPr>
          <p:nvPr/>
        </p:nvSpPr>
        <p:spPr>
          <a:xfrm>
            <a:off x="6096000" y="2501342"/>
            <a:ext cx="4830846" cy="2662842"/>
          </a:xfrm>
          <a:prstGeom prst="rect">
            <a:avLst/>
          </a:prstGeom>
        </p:spPr>
        <p:txBody>
          <a:bodyPr/>
          <a:lstStyle>
            <a:lvl1pPr marL="285750" indent="-285750" algn="ctr" defTabSz="914400" rtl="0" eaLnBrk="1" latinLnBrk="0" hangingPunct="1">
              <a:lnSpc>
                <a:spcPts val="2400"/>
              </a:lnSpc>
              <a:spcBef>
                <a:spcPts val="1000"/>
              </a:spcBef>
              <a:buSzPct val="65000"/>
              <a:buFontTx/>
              <a:buBlip>
                <a:blip r:embed="rId4"/>
              </a:buBlip>
              <a:tabLst>
                <a:tab pos="1704975" algn="l"/>
              </a:tabLst>
              <a:defRPr lang="de-DE" sz="1600" kern="1200" dirty="0" err="1" smtClean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lang="de-DE" sz="1600" kern="1200" dirty="0" smtClean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+mn-cs"/>
              </a:defRPr>
            </a:lvl2pPr>
            <a:lvl3pPr marL="914400" marR="0" indent="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de-DE" sz="1600" kern="1200" dirty="0" smtClean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lang="de-DE" sz="1600" kern="1200" dirty="0" smtClean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lang="de-DE" sz="1600" kern="12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ts val="1800"/>
              </a:lnSpc>
            </a:pPr>
            <a:endParaRPr lang="de-DE" dirty="0">
              <a:solidFill>
                <a:srgbClr val="343434"/>
              </a:solidFill>
            </a:endParaRPr>
          </a:p>
        </p:txBody>
      </p:sp>
      <p:sp>
        <p:nvSpPr>
          <p:cNvPr id="3" name="Textfeld 2"/>
          <p:cNvSpPr txBox="1"/>
          <p:nvPr/>
        </p:nvSpPr>
        <p:spPr>
          <a:xfrm>
            <a:off x="6095998" y="2449583"/>
            <a:ext cx="3927895" cy="30285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1">
              <a:lnSpc>
                <a:spcPct val="120000"/>
              </a:lnSpc>
              <a:spcBef>
                <a:spcPct val="0"/>
              </a:spcBef>
            </a:pPr>
            <a:r>
              <a:rPr lang="de-DE" altLang="de-DE" sz="1600" dirty="0" err="1"/>
              <a:t>pronunciation</a:t>
            </a:r>
            <a:endParaRPr lang="de-DE" altLang="de-DE" sz="1600" dirty="0"/>
          </a:p>
          <a:p>
            <a:pPr lvl="1">
              <a:lnSpc>
                <a:spcPct val="120000"/>
              </a:lnSpc>
              <a:spcBef>
                <a:spcPct val="0"/>
              </a:spcBef>
            </a:pPr>
            <a:r>
              <a:rPr lang="de-DE" altLang="de-DE" sz="1600" dirty="0" err="1">
                <a:solidFill>
                  <a:schemeClr val="bg1"/>
                </a:solidFill>
              </a:rPr>
              <a:t>be</a:t>
            </a:r>
            <a:r>
              <a:rPr lang="de-DE" altLang="de-DE" sz="1600" dirty="0">
                <a:solidFill>
                  <a:schemeClr val="bg1"/>
                </a:solidFill>
              </a:rPr>
              <a:t> </a:t>
            </a:r>
            <a:r>
              <a:rPr lang="de-DE" altLang="de-DE" sz="1600" dirty="0" err="1">
                <a:solidFill>
                  <a:schemeClr val="bg1"/>
                </a:solidFill>
              </a:rPr>
              <a:t>able</a:t>
            </a:r>
            <a:r>
              <a:rPr lang="de-DE" altLang="de-DE" sz="1600" dirty="0">
                <a:solidFill>
                  <a:schemeClr val="bg1"/>
                </a:solidFill>
              </a:rPr>
              <a:t> </a:t>
            </a:r>
            <a:r>
              <a:rPr lang="de-DE" altLang="de-DE" sz="1600" dirty="0" err="1">
                <a:solidFill>
                  <a:schemeClr val="bg1"/>
                </a:solidFill>
              </a:rPr>
              <a:t>to</a:t>
            </a:r>
            <a:r>
              <a:rPr lang="de-DE" altLang="de-DE" sz="1600" dirty="0">
                <a:solidFill>
                  <a:schemeClr val="bg1"/>
                </a:solidFill>
              </a:rPr>
              <a:t> </a:t>
            </a:r>
            <a:r>
              <a:rPr lang="de-DE" altLang="de-DE" sz="1600" dirty="0" err="1">
                <a:solidFill>
                  <a:schemeClr val="bg1"/>
                </a:solidFill>
              </a:rPr>
              <a:t>say</a:t>
            </a:r>
            <a:r>
              <a:rPr lang="de-DE" altLang="de-DE" sz="1600" dirty="0">
                <a:solidFill>
                  <a:schemeClr val="bg1"/>
                </a:solidFill>
              </a:rPr>
              <a:t> </a:t>
            </a:r>
            <a:r>
              <a:rPr lang="de-DE" altLang="de-DE" sz="1600" dirty="0" err="1">
                <a:solidFill>
                  <a:schemeClr val="bg1"/>
                </a:solidFill>
              </a:rPr>
              <a:t>it</a:t>
            </a:r>
            <a:r>
              <a:rPr lang="de-DE" altLang="de-DE" sz="1600" dirty="0">
                <a:solidFill>
                  <a:schemeClr val="bg1"/>
                </a:solidFill>
              </a:rPr>
              <a:t> in simple </a:t>
            </a:r>
            <a:r>
              <a:rPr lang="de-DE" altLang="de-DE" sz="1600" dirty="0" err="1" smtClean="0">
                <a:solidFill>
                  <a:schemeClr val="bg1"/>
                </a:solidFill>
              </a:rPr>
              <a:t>words</a:t>
            </a:r>
            <a:endParaRPr lang="de-DE" altLang="de-DE" sz="1600" dirty="0" smtClean="0">
              <a:solidFill>
                <a:schemeClr val="bg1"/>
              </a:solidFill>
            </a:endParaRPr>
          </a:p>
          <a:p>
            <a:pPr lvl="1">
              <a:lnSpc>
                <a:spcPct val="120000"/>
              </a:lnSpc>
              <a:spcBef>
                <a:spcPct val="0"/>
              </a:spcBef>
            </a:pPr>
            <a:r>
              <a:rPr lang="de-DE" altLang="de-DE" sz="1600" dirty="0"/>
              <a:t>easy </a:t>
            </a:r>
            <a:r>
              <a:rPr lang="de-DE" altLang="de-DE" sz="1600" dirty="0" err="1"/>
              <a:t>to</a:t>
            </a:r>
            <a:r>
              <a:rPr lang="de-DE" altLang="de-DE" sz="1600" dirty="0"/>
              <a:t> follow</a:t>
            </a:r>
          </a:p>
          <a:p>
            <a:pPr lvl="1">
              <a:lnSpc>
                <a:spcPct val="120000"/>
              </a:lnSpc>
              <a:spcBef>
                <a:spcPct val="0"/>
              </a:spcBef>
            </a:pPr>
            <a:r>
              <a:rPr lang="de-DE" altLang="de-DE" sz="1600" dirty="0" err="1"/>
              <a:t>no</a:t>
            </a:r>
            <a:r>
              <a:rPr lang="de-DE" altLang="de-DE" sz="1600" dirty="0"/>
              <a:t> funny </a:t>
            </a:r>
            <a:r>
              <a:rPr lang="de-DE" altLang="de-DE" sz="1600" dirty="0" err="1"/>
              <a:t>gestures</a:t>
            </a:r>
            <a:endParaRPr lang="de-DE" altLang="de-DE" sz="1600" dirty="0"/>
          </a:p>
          <a:p>
            <a:pPr lvl="1">
              <a:lnSpc>
                <a:spcPct val="120000"/>
              </a:lnSpc>
              <a:spcBef>
                <a:spcPct val="0"/>
              </a:spcBef>
            </a:pPr>
            <a:r>
              <a:rPr lang="de-DE" altLang="de-DE" sz="1600" dirty="0" err="1"/>
              <a:t>use</a:t>
            </a:r>
            <a:r>
              <a:rPr lang="de-DE" altLang="de-DE" sz="1600" dirty="0"/>
              <a:t> </a:t>
            </a:r>
            <a:r>
              <a:rPr lang="de-DE" altLang="de-DE" sz="1600" dirty="0" err="1"/>
              <a:t>of</a:t>
            </a:r>
            <a:r>
              <a:rPr lang="de-DE" altLang="de-DE" sz="1600" dirty="0"/>
              <a:t> </a:t>
            </a:r>
            <a:r>
              <a:rPr lang="de-DE" altLang="de-DE" sz="1600" dirty="0" err="1"/>
              <a:t>pauses</a:t>
            </a:r>
            <a:endParaRPr lang="de-DE" altLang="de-DE" sz="1600" dirty="0"/>
          </a:p>
          <a:p>
            <a:pPr lvl="1">
              <a:lnSpc>
                <a:spcPct val="120000"/>
              </a:lnSpc>
              <a:spcBef>
                <a:spcPct val="0"/>
              </a:spcBef>
            </a:pPr>
            <a:r>
              <a:rPr lang="de-DE" altLang="de-DE" sz="1600" dirty="0"/>
              <a:t>…</a:t>
            </a:r>
          </a:p>
          <a:p>
            <a:pPr lvl="1">
              <a:lnSpc>
                <a:spcPct val="120000"/>
              </a:lnSpc>
              <a:spcBef>
                <a:spcPct val="0"/>
              </a:spcBef>
            </a:pPr>
            <a:r>
              <a:rPr lang="de-DE" altLang="de-DE" sz="1600" dirty="0"/>
              <a:t>…</a:t>
            </a:r>
          </a:p>
          <a:p>
            <a:pPr lvl="1">
              <a:lnSpc>
                <a:spcPct val="120000"/>
              </a:lnSpc>
              <a:spcBef>
                <a:spcPct val="0"/>
              </a:spcBef>
            </a:pPr>
            <a:endParaRPr lang="de-DE" altLang="de-DE" sz="1600" dirty="0" smtClean="0"/>
          </a:p>
          <a:p>
            <a:pPr lvl="1">
              <a:lnSpc>
                <a:spcPct val="120000"/>
              </a:lnSpc>
              <a:spcBef>
                <a:spcPct val="0"/>
              </a:spcBef>
            </a:pPr>
            <a:endParaRPr lang="de-DE" altLang="de-DE" sz="1600" dirty="0"/>
          </a:p>
          <a:p>
            <a:endParaRPr lang="de-DE" dirty="0"/>
          </a:p>
        </p:txBody>
      </p:sp>
      <p:pic>
        <p:nvPicPr>
          <p:cNvPr id="5" name="Audio 4">
            <a:hlinkClick r:id="" action="ppaction://media"/>
          </p:cNvPr>
          <p:cNvPicPr>
            <a:picLocks noChangeAspect="1"/>
          </p:cNvPicPr>
          <p:nvPr>
            <a:audi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5"/>
          <a:stretch>
            <a:fillRect/>
          </a:stretch>
        </p:blipFill>
        <p:spPr>
          <a:xfrm>
            <a:off x="11488738" y="6154738"/>
            <a:ext cx="487362" cy="4873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607067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27956"/>
    </mc:Choice>
    <mc:Fallback xmlns="">
      <p:transition spd="slow" advTm="27956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 isNarration="1">
              <p:cMediaNode vol="80000" showWhenStopped="0">
                <p:cTn id="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5"/>
                </p:tgtEl>
              </p:cMediaNode>
            </p:audio>
          </p:childTnLst>
        </p:cTn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 8">
            <a:extLst>
              <a:ext uri="{FF2B5EF4-FFF2-40B4-BE49-F238E27FC236}">
                <a16:creationId xmlns:a16="http://schemas.microsoft.com/office/drawing/2014/main" xmlns="" id="{48D8A2D3-B443-4986-B1ED-38333861808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e-DE" dirty="0" smtClean="0">
                <a:solidFill>
                  <a:srgbClr val="343434"/>
                </a:solidFill>
              </a:rPr>
              <a:t>English </a:t>
            </a:r>
            <a:r>
              <a:rPr lang="de-DE" dirty="0" smtClean="0">
                <a:solidFill>
                  <a:srgbClr val="343434"/>
                </a:solidFill>
              </a:rPr>
              <a:t>III</a:t>
            </a:r>
            <a:endParaRPr lang="de-DE" dirty="0">
              <a:solidFill>
                <a:srgbClr val="343434"/>
              </a:solidFill>
            </a:endParaRPr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xmlns="" id="{18B4579A-4238-40E2-906C-8E6A9538D842}"/>
              </a:ext>
            </a:extLst>
          </p:cNvPr>
          <p:cNvSpPr txBox="1">
            <a:spLocks/>
          </p:cNvSpPr>
          <p:nvPr/>
        </p:nvSpPr>
        <p:spPr>
          <a:xfrm>
            <a:off x="852784" y="1889341"/>
            <a:ext cx="4883782" cy="330864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IN" sz="2000" b="1" kern="1200" baseline="0" dirty="0">
                <a:solidFill>
                  <a:srgbClr val="002B6A"/>
                </a:solidFill>
                <a:latin typeface="Roboto Cn" pitchFamily="2" charset="0"/>
                <a:ea typeface="Roboto Cn" pitchFamily="2" charset="0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rgbClr val="FFFFFF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+mn-cs"/>
              </a:defRPr>
            </a:lvl2pPr>
            <a:lvl3pPr marL="914400" marR="0" indent="0" algn="ctr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kern="1200">
                <a:solidFill>
                  <a:srgbClr val="FFFFFF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rgbClr val="FFFFFF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rgbClr val="FFFFFF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1800" dirty="0" smtClean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What makes a good presentation?</a:t>
            </a:r>
            <a:endParaRPr lang="en-US" sz="1800" dirty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11" name="Textplatzhalter 5">
            <a:extLst>
              <a:ext uri="{FF2B5EF4-FFF2-40B4-BE49-F238E27FC236}">
                <a16:creationId xmlns:a16="http://schemas.microsoft.com/office/drawing/2014/main" xmlns="" id="{07259BD0-8F46-453D-852A-6EDA7FC8F2F5}"/>
              </a:ext>
            </a:extLst>
          </p:cNvPr>
          <p:cNvSpPr txBox="1">
            <a:spLocks/>
          </p:cNvSpPr>
          <p:nvPr/>
        </p:nvSpPr>
        <p:spPr>
          <a:xfrm>
            <a:off x="821018" y="2130725"/>
            <a:ext cx="4639504" cy="3830128"/>
          </a:xfrm>
          <a:prstGeom prst="rect">
            <a:avLst/>
          </a:prstGeom>
        </p:spPr>
        <p:txBody>
          <a:bodyPr/>
          <a:lstStyle>
            <a:lvl1pPr marL="285750" indent="-285750" algn="ctr" defTabSz="914400" rtl="0" eaLnBrk="1" latinLnBrk="0" hangingPunct="1">
              <a:lnSpc>
                <a:spcPts val="2400"/>
              </a:lnSpc>
              <a:spcBef>
                <a:spcPts val="1000"/>
              </a:spcBef>
              <a:buSzPct val="65000"/>
              <a:buFontTx/>
              <a:buBlip>
                <a:blip r:embed="rId4"/>
              </a:buBlip>
              <a:tabLst>
                <a:tab pos="1704975" algn="l"/>
              </a:tabLst>
              <a:defRPr lang="de-DE" sz="1600" kern="1200" dirty="0" err="1" smtClean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lang="de-DE" sz="1600" kern="1200" dirty="0" smtClean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+mn-cs"/>
              </a:defRPr>
            </a:lvl2pPr>
            <a:lvl3pPr marL="914400" marR="0" indent="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de-DE" sz="1600" kern="1200" dirty="0" smtClean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lang="de-DE" sz="1600" kern="1200" dirty="0" smtClean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lang="de-DE" sz="1600" kern="12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ts val="1800"/>
              </a:lnSpc>
              <a:buFontTx/>
              <a:buChar char="-"/>
            </a:pPr>
            <a:endParaRPr lang="de-DE" dirty="0">
              <a:solidFill>
                <a:schemeClr val="bg1">
                  <a:lumMod val="50000"/>
                </a:schemeClr>
              </a:solidFill>
            </a:endParaRPr>
          </a:p>
          <a:p>
            <a:pPr lvl="1">
              <a:lnSpc>
                <a:spcPct val="120000"/>
              </a:lnSpc>
              <a:spcBef>
                <a:spcPct val="0"/>
              </a:spcBef>
            </a:pPr>
            <a:r>
              <a:rPr lang="de-DE" altLang="de-DE" sz="1800" dirty="0" err="1"/>
              <a:t>clear</a:t>
            </a:r>
            <a:r>
              <a:rPr lang="de-DE" altLang="de-DE" sz="1800" dirty="0"/>
              <a:t> </a:t>
            </a:r>
            <a:r>
              <a:rPr lang="de-DE" altLang="de-DE" sz="1800" dirty="0" err="1"/>
              <a:t>structure</a:t>
            </a:r>
            <a:endParaRPr lang="de-DE" altLang="de-DE" sz="1800" dirty="0"/>
          </a:p>
          <a:p>
            <a:pPr lvl="1">
              <a:lnSpc>
                <a:spcPct val="120000"/>
              </a:lnSpc>
              <a:spcBef>
                <a:spcPct val="0"/>
              </a:spcBef>
            </a:pPr>
            <a:r>
              <a:rPr lang="de-DE" altLang="de-DE" sz="1800" dirty="0" err="1"/>
              <a:t>speak</a:t>
            </a:r>
            <a:r>
              <a:rPr lang="de-DE" altLang="de-DE" sz="1800" dirty="0"/>
              <a:t> </a:t>
            </a:r>
            <a:r>
              <a:rPr lang="de-DE" altLang="de-DE" sz="1800" dirty="0" err="1"/>
              <a:t>fluently</a:t>
            </a:r>
            <a:endParaRPr lang="de-DE" altLang="de-DE" sz="1800" dirty="0"/>
          </a:p>
          <a:p>
            <a:pPr lvl="1">
              <a:lnSpc>
                <a:spcPct val="120000"/>
              </a:lnSpc>
              <a:spcBef>
                <a:spcPct val="0"/>
              </a:spcBef>
            </a:pPr>
            <a:r>
              <a:rPr lang="de-DE" altLang="de-DE" sz="1800" dirty="0" err="1"/>
              <a:t>speak</a:t>
            </a:r>
            <a:r>
              <a:rPr lang="de-DE" altLang="de-DE" sz="1800" dirty="0"/>
              <a:t> </a:t>
            </a:r>
            <a:r>
              <a:rPr lang="de-DE" altLang="de-DE" sz="1800" dirty="0" err="1"/>
              <a:t>clearly</a:t>
            </a:r>
            <a:endParaRPr lang="de-DE" altLang="de-DE" sz="1800" dirty="0"/>
          </a:p>
          <a:p>
            <a:pPr lvl="1">
              <a:lnSpc>
                <a:spcPct val="120000"/>
              </a:lnSpc>
              <a:spcBef>
                <a:spcPct val="0"/>
              </a:spcBef>
            </a:pPr>
            <a:r>
              <a:rPr lang="de-DE" altLang="de-DE" sz="1800" dirty="0" err="1"/>
              <a:t>good</a:t>
            </a:r>
            <a:r>
              <a:rPr lang="de-DE" altLang="de-DE" sz="1800" dirty="0"/>
              <a:t> </a:t>
            </a:r>
            <a:r>
              <a:rPr lang="de-DE" altLang="de-DE" sz="1800" dirty="0" err="1"/>
              <a:t>body</a:t>
            </a:r>
            <a:r>
              <a:rPr lang="de-DE" altLang="de-DE" sz="1800" dirty="0"/>
              <a:t> </a:t>
            </a:r>
            <a:r>
              <a:rPr lang="de-DE" altLang="de-DE" sz="1800" dirty="0" err="1"/>
              <a:t>language</a:t>
            </a:r>
            <a:endParaRPr lang="de-DE" altLang="de-DE" sz="1800" dirty="0"/>
          </a:p>
          <a:p>
            <a:pPr lvl="1">
              <a:lnSpc>
                <a:spcPct val="120000"/>
              </a:lnSpc>
              <a:spcBef>
                <a:spcPct val="0"/>
              </a:spcBef>
            </a:pPr>
            <a:r>
              <a:rPr lang="de-DE" altLang="de-DE" sz="1800" dirty="0" err="1"/>
              <a:t>keep</a:t>
            </a:r>
            <a:r>
              <a:rPr lang="de-DE" altLang="de-DE" sz="1800" dirty="0"/>
              <a:t> </a:t>
            </a:r>
            <a:r>
              <a:rPr lang="de-DE" altLang="de-DE" sz="1800" dirty="0" err="1"/>
              <a:t>eye</a:t>
            </a:r>
            <a:r>
              <a:rPr lang="de-DE" altLang="de-DE" sz="1800" dirty="0"/>
              <a:t> </a:t>
            </a:r>
            <a:r>
              <a:rPr lang="de-DE" altLang="de-DE" sz="1800" dirty="0" err="1"/>
              <a:t>contact</a:t>
            </a:r>
            <a:endParaRPr lang="de-DE" altLang="de-DE" sz="1800" dirty="0"/>
          </a:p>
          <a:p>
            <a:pPr lvl="1">
              <a:lnSpc>
                <a:spcPct val="120000"/>
              </a:lnSpc>
              <a:spcBef>
                <a:spcPct val="0"/>
              </a:spcBef>
            </a:pPr>
            <a:r>
              <a:rPr lang="de-DE" altLang="de-DE" sz="1800" dirty="0" err="1"/>
              <a:t>audience</a:t>
            </a:r>
            <a:r>
              <a:rPr lang="de-DE" altLang="de-DE" sz="1800" dirty="0"/>
              <a:t> </a:t>
            </a:r>
            <a:r>
              <a:rPr lang="de-DE" altLang="de-DE" sz="1800" dirty="0" err="1"/>
              <a:t>involvement</a:t>
            </a:r>
            <a:endParaRPr lang="de-DE" altLang="de-DE" sz="1800" dirty="0"/>
          </a:p>
          <a:p>
            <a:pPr lvl="1">
              <a:lnSpc>
                <a:spcPct val="120000"/>
              </a:lnSpc>
              <a:spcBef>
                <a:spcPct val="0"/>
              </a:spcBef>
            </a:pPr>
            <a:r>
              <a:rPr lang="de-DE" altLang="de-DE" sz="1800" dirty="0" err="1"/>
              <a:t>good</a:t>
            </a:r>
            <a:r>
              <a:rPr lang="de-DE" altLang="de-DE" sz="1800" dirty="0"/>
              <a:t> </a:t>
            </a:r>
            <a:r>
              <a:rPr lang="de-DE" altLang="de-DE" sz="1800" dirty="0" err="1"/>
              <a:t>visuals</a:t>
            </a:r>
            <a:endParaRPr lang="de-DE" altLang="de-DE" sz="1800" dirty="0"/>
          </a:p>
          <a:p>
            <a:pPr lvl="1">
              <a:lnSpc>
                <a:spcPct val="120000"/>
              </a:lnSpc>
              <a:spcBef>
                <a:spcPct val="0"/>
              </a:spcBef>
            </a:pPr>
            <a:r>
              <a:rPr lang="de-DE" altLang="de-DE" sz="1800" dirty="0" err="1" smtClean="0"/>
              <a:t>good</a:t>
            </a:r>
            <a:r>
              <a:rPr lang="de-DE" altLang="de-DE" sz="1800" dirty="0" smtClean="0"/>
              <a:t> </a:t>
            </a:r>
            <a:r>
              <a:rPr lang="de-DE" altLang="de-DE" sz="1800" dirty="0" err="1" smtClean="0"/>
              <a:t>preparation</a:t>
            </a:r>
            <a:endParaRPr lang="de-DE" altLang="de-DE" sz="1800" dirty="0" smtClean="0"/>
          </a:p>
          <a:p>
            <a:pPr lvl="1">
              <a:lnSpc>
                <a:spcPct val="120000"/>
              </a:lnSpc>
              <a:spcBef>
                <a:spcPct val="0"/>
              </a:spcBef>
            </a:pPr>
            <a:r>
              <a:rPr lang="de-DE" altLang="de-DE" sz="1800" dirty="0" err="1" smtClean="0"/>
              <a:t>make</a:t>
            </a:r>
            <a:r>
              <a:rPr lang="de-DE" altLang="de-DE" sz="1800" dirty="0" smtClean="0"/>
              <a:t> </a:t>
            </a:r>
            <a:r>
              <a:rPr lang="de-DE" altLang="de-DE" sz="1800" dirty="0" err="1"/>
              <a:t>it</a:t>
            </a:r>
            <a:r>
              <a:rPr lang="de-DE" altLang="de-DE" sz="1800" dirty="0"/>
              <a:t> </a:t>
            </a:r>
            <a:r>
              <a:rPr lang="de-DE" altLang="de-DE" sz="1800" dirty="0" err="1"/>
              <a:t>interesting</a:t>
            </a:r>
            <a:r>
              <a:rPr lang="de-DE" altLang="de-DE" sz="1800" dirty="0"/>
              <a:t> </a:t>
            </a:r>
            <a:r>
              <a:rPr lang="de-DE" altLang="de-DE" sz="1800" dirty="0" err="1"/>
              <a:t>and</a:t>
            </a:r>
            <a:r>
              <a:rPr lang="de-DE" altLang="de-DE" sz="1800" dirty="0"/>
              <a:t> relevant</a:t>
            </a:r>
          </a:p>
          <a:p>
            <a:pPr lvl="1">
              <a:lnSpc>
                <a:spcPct val="120000"/>
              </a:lnSpc>
              <a:spcBef>
                <a:spcPct val="0"/>
              </a:spcBef>
            </a:pPr>
            <a:r>
              <a:rPr lang="de-DE" altLang="de-DE" sz="1800" dirty="0" err="1"/>
              <a:t>intonation</a:t>
            </a:r>
            <a:endParaRPr lang="de-DE" altLang="de-DE" sz="1800" dirty="0"/>
          </a:p>
          <a:p>
            <a:pPr algn="l">
              <a:lnSpc>
                <a:spcPts val="1800"/>
              </a:lnSpc>
              <a:buFontTx/>
              <a:buChar char="-"/>
            </a:pPr>
            <a:endParaRPr lang="de-DE" dirty="0">
              <a:solidFill>
                <a:schemeClr val="bg1">
                  <a:lumMod val="50000"/>
                </a:schemeClr>
              </a:solidFill>
            </a:endParaRPr>
          </a:p>
          <a:p>
            <a:pPr algn="l">
              <a:lnSpc>
                <a:spcPts val="1800"/>
              </a:lnSpc>
              <a:buFontTx/>
              <a:buChar char="-"/>
            </a:pPr>
            <a:endParaRPr lang="de-DE" dirty="0" smtClean="0">
              <a:solidFill>
                <a:schemeClr val="bg1">
                  <a:lumMod val="50000"/>
                </a:schemeClr>
              </a:solidFill>
            </a:endParaRPr>
          </a:p>
          <a:p>
            <a:pPr algn="l">
              <a:lnSpc>
                <a:spcPts val="1800"/>
              </a:lnSpc>
              <a:buFontTx/>
              <a:buChar char="-"/>
            </a:pPr>
            <a:endParaRPr lang="de-DE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14" name="Textplatzhalter 5">
            <a:extLst>
              <a:ext uri="{FF2B5EF4-FFF2-40B4-BE49-F238E27FC236}">
                <a16:creationId xmlns:a16="http://schemas.microsoft.com/office/drawing/2014/main" xmlns="" id="{E483239E-B7FF-4473-BEC7-2F375E16713D}"/>
              </a:ext>
            </a:extLst>
          </p:cNvPr>
          <p:cNvSpPr txBox="1">
            <a:spLocks/>
          </p:cNvSpPr>
          <p:nvPr/>
        </p:nvSpPr>
        <p:spPr>
          <a:xfrm>
            <a:off x="6096000" y="2501342"/>
            <a:ext cx="4830846" cy="2662842"/>
          </a:xfrm>
          <a:prstGeom prst="rect">
            <a:avLst/>
          </a:prstGeom>
        </p:spPr>
        <p:txBody>
          <a:bodyPr/>
          <a:lstStyle>
            <a:lvl1pPr marL="285750" indent="-285750" algn="ctr" defTabSz="914400" rtl="0" eaLnBrk="1" latinLnBrk="0" hangingPunct="1">
              <a:lnSpc>
                <a:spcPts val="2400"/>
              </a:lnSpc>
              <a:spcBef>
                <a:spcPts val="1000"/>
              </a:spcBef>
              <a:buSzPct val="65000"/>
              <a:buFontTx/>
              <a:buBlip>
                <a:blip r:embed="rId4"/>
              </a:buBlip>
              <a:tabLst>
                <a:tab pos="1704975" algn="l"/>
              </a:tabLst>
              <a:defRPr lang="de-DE" sz="1600" kern="1200" dirty="0" err="1" smtClean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lang="de-DE" sz="1600" kern="1200" dirty="0" smtClean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+mn-cs"/>
              </a:defRPr>
            </a:lvl2pPr>
            <a:lvl3pPr marL="914400" marR="0" indent="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de-DE" sz="1600" kern="1200" dirty="0" smtClean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lang="de-DE" sz="1600" kern="1200" dirty="0" smtClean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lang="de-DE" sz="1600" kern="12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ts val="1800"/>
              </a:lnSpc>
            </a:pPr>
            <a:endParaRPr lang="de-DE" dirty="0">
              <a:solidFill>
                <a:srgbClr val="343434"/>
              </a:solidFill>
            </a:endParaRPr>
          </a:p>
        </p:txBody>
      </p:sp>
      <p:sp>
        <p:nvSpPr>
          <p:cNvPr id="3" name="Textfeld 2"/>
          <p:cNvSpPr txBox="1"/>
          <p:nvPr/>
        </p:nvSpPr>
        <p:spPr>
          <a:xfrm>
            <a:off x="6095998" y="2449583"/>
            <a:ext cx="3927895" cy="30285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1">
              <a:lnSpc>
                <a:spcPct val="120000"/>
              </a:lnSpc>
              <a:spcBef>
                <a:spcPct val="0"/>
              </a:spcBef>
            </a:pPr>
            <a:r>
              <a:rPr lang="de-DE" altLang="de-DE" sz="1600" dirty="0" err="1"/>
              <a:t>pronunciation</a:t>
            </a:r>
            <a:endParaRPr lang="de-DE" altLang="de-DE" sz="1600" dirty="0"/>
          </a:p>
          <a:p>
            <a:pPr lvl="1">
              <a:lnSpc>
                <a:spcPct val="120000"/>
              </a:lnSpc>
              <a:spcBef>
                <a:spcPct val="0"/>
              </a:spcBef>
            </a:pPr>
            <a:r>
              <a:rPr lang="de-DE" altLang="de-DE" sz="1600" dirty="0" err="1"/>
              <a:t>be</a:t>
            </a:r>
            <a:r>
              <a:rPr lang="de-DE" altLang="de-DE" sz="1600" dirty="0"/>
              <a:t> </a:t>
            </a:r>
            <a:r>
              <a:rPr lang="de-DE" altLang="de-DE" sz="1600" dirty="0" err="1"/>
              <a:t>able</a:t>
            </a:r>
            <a:r>
              <a:rPr lang="de-DE" altLang="de-DE" sz="1600" dirty="0"/>
              <a:t> </a:t>
            </a:r>
            <a:r>
              <a:rPr lang="de-DE" altLang="de-DE" sz="1600" dirty="0" err="1"/>
              <a:t>to</a:t>
            </a:r>
            <a:r>
              <a:rPr lang="de-DE" altLang="de-DE" sz="1600" dirty="0"/>
              <a:t> </a:t>
            </a:r>
            <a:r>
              <a:rPr lang="de-DE" altLang="de-DE" sz="1600" dirty="0" err="1"/>
              <a:t>say</a:t>
            </a:r>
            <a:r>
              <a:rPr lang="de-DE" altLang="de-DE" sz="1600" dirty="0"/>
              <a:t> </a:t>
            </a:r>
            <a:r>
              <a:rPr lang="de-DE" altLang="de-DE" sz="1600" dirty="0" err="1"/>
              <a:t>it</a:t>
            </a:r>
            <a:r>
              <a:rPr lang="de-DE" altLang="de-DE" sz="1600" dirty="0"/>
              <a:t> in simple </a:t>
            </a:r>
            <a:r>
              <a:rPr lang="de-DE" altLang="de-DE" sz="1600" dirty="0" err="1" smtClean="0"/>
              <a:t>words</a:t>
            </a:r>
            <a:endParaRPr lang="de-DE" altLang="de-DE" sz="1600" dirty="0" smtClean="0"/>
          </a:p>
          <a:p>
            <a:pPr lvl="1">
              <a:lnSpc>
                <a:spcPct val="120000"/>
              </a:lnSpc>
              <a:spcBef>
                <a:spcPct val="0"/>
              </a:spcBef>
            </a:pPr>
            <a:r>
              <a:rPr lang="de-DE" altLang="de-DE" sz="1600" dirty="0">
                <a:solidFill>
                  <a:schemeClr val="bg1"/>
                </a:solidFill>
              </a:rPr>
              <a:t>easy </a:t>
            </a:r>
            <a:r>
              <a:rPr lang="de-DE" altLang="de-DE" sz="1600" dirty="0" err="1">
                <a:solidFill>
                  <a:schemeClr val="bg1"/>
                </a:solidFill>
              </a:rPr>
              <a:t>to</a:t>
            </a:r>
            <a:r>
              <a:rPr lang="de-DE" altLang="de-DE" sz="1600" dirty="0">
                <a:solidFill>
                  <a:schemeClr val="bg1"/>
                </a:solidFill>
              </a:rPr>
              <a:t> follow</a:t>
            </a:r>
          </a:p>
          <a:p>
            <a:pPr lvl="1">
              <a:lnSpc>
                <a:spcPct val="120000"/>
              </a:lnSpc>
              <a:spcBef>
                <a:spcPct val="0"/>
              </a:spcBef>
            </a:pPr>
            <a:r>
              <a:rPr lang="de-DE" altLang="de-DE" sz="1600" dirty="0" err="1"/>
              <a:t>no</a:t>
            </a:r>
            <a:r>
              <a:rPr lang="de-DE" altLang="de-DE" sz="1600" dirty="0"/>
              <a:t> funny </a:t>
            </a:r>
            <a:r>
              <a:rPr lang="de-DE" altLang="de-DE" sz="1600" dirty="0" err="1"/>
              <a:t>gestures</a:t>
            </a:r>
            <a:endParaRPr lang="de-DE" altLang="de-DE" sz="1600" dirty="0"/>
          </a:p>
          <a:p>
            <a:pPr lvl="1">
              <a:lnSpc>
                <a:spcPct val="120000"/>
              </a:lnSpc>
              <a:spcBef>
                <a:spcPct val="0"/>
              </a:spcBef>
            </a:pPr>
            <a:r>
              <a:rPr lang="de-DE" altLang="de-DE" sz="1600" dirty="0" err="1"/>
              <a:t>use</a:t>
            </a:r>
            <a:r>
              <a:rPr lang="de-DE" altLang="de-DE" sz="1600" dirty="0"/>
              <a:t> </a:t>
            </a:r>
            <a:r>
              <a:rPr lang="de-DE" altLang="de-DE" sz="1600" dirty="0" err="1"/>
              <a:t>of</a:t>
            </a:r>
            <a:r>
              <a:rPr lang="de-DE" altLang="de-DE" sz="1600" dirty="0"/>
              <a:t> </a:t>
            </a:r>
            <a:r>
              <a:rPr lang="de-DE" altLang="de-DE" sz="1600" dirty="0" err="1"/>
              <a:t>pauses</a:t>
            </a:r>
            <a:endParaRPr lang="de-DE" altLang="de-DE" sz="1600" dirty="0"/>
          </a:p>
          <a:p>
            <a:pPr lvl="1">
              <a:lnSpc>
                <a:spcPct val="120000"/>
              </a:lnSpc>
              <a:spcBef>
                <a:spcPct val="0"/>
              </a:spcBef>
            </a:pPr>
            <a:r>
              <a:rPr lang="de-DE" altLang="de-DE" sz="1600" dirty="0"/>
              <a:t>…</a:t>
            </a:r>
          </a:p>
          <a:p>
            <a:pPr lvl="1">
              <a:lnSpc>
                <a:spcPct val="120000"/>
              </a:lnSpc>
              <a:spcBef>
                <a:spcPct val="0"/>
              </a:spcBef>
            </a:pPr>
            <a:r>
              <a:rPr lang="de-DE" altLang="de-DE" sz="1600" dirty="0"/>
              <a:t>…</a:t>
            </a:r>
          </a:p>
          <a:p>
            <a:pPr lvl="1">
              <a:lnSpc>
                <a:spcPct val="120000"/>
              </a:lnSpc>
              <a:spcBef>
                <a:spcPct val="0"/>
              </a:spcBef>
            </a:pPr>
            <a:endParaRPr lang="de-DE" altLang="de-DE" sz="1600" dirty="0" smtClean="0"/>
          </a:p>
          <a:p>
            <a:pPr lvl="1">
              <a:lnSpc>
                <a:spcPct val="120000"/>
              </a:lnSpc>
              <a:spcBef>
                <a:spcPct val="0"/>
              </a:spcBef>
            </a:pPr>
            <a:endParaRPr lang="de-DE" altLang="de-DE" sz="1600" dirty="0"/>
          </a:p>
          <a:p>
            <a:endParaRPr lang="de-DE" dirty="0"/>
          </a:p>
        </p:txBody>
      </p:sp>
      <p:pic>
        <p:nvPicPr>
          <p:cNvPr id="4" name="Audio 3">
            <a:hlinkClick r:id="" action="ppaction://media"/>
          </p:cNvPr>
          <p:cNvPicPr>
            <a:picLocks noChangeAspect="1"/>
          </p:cNvPicPr>
          <p:nvPr>
            <a:audi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5"/>
          <a:stretch>
            <a:fillRect/>
          </a:stretch>
        </p:blipFill>
        <p:spPr>
          <a:xfrm>
            <a:off x="11488738" y="6154738"/>
            <a:ext cx="487362" cy="4873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629727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11423"/>
    </mc:Choice>
    <mc:Fallback xmlns="">
      <p:transition spd="slow" advTm="11423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 isNarration="1">
              <p:cMediaNode vol="80000" showWhenStopped="0">
                <p:cTn id="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4"/>
                </p:tgtEl>
              </p:cMediaNode>
            </p:audio>
          </p:childTnLst>
        </p:cTn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 8">
            <a:extLst>
              <a:ext uri="{FF2B5EF4-FFF2-40B4-BE49-F238E27FC236}">
                <a16:creationId xmlns:a16="http://schemas.microsoft.com/office/drawing/2014/main" xmlns="" id="{48D8A2D3-B443-4986-B1ED-38333861808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e-DE" dirty="0" smtClean="0">
                <a:solidFill>
                  <a:srgbClr val="343434"/>
                </a:solidFill>
              </a:rPr>
              <a:t>English </a:t>
            </a:r>
            <a:r>
              <a:rPr lang="de-DE" dirty="0" smtClean="0">
                <a:solidFill>
                  <a:srgbClr val="343434"/>
                </a:solidFill>
              </a:rPr>
              <a:t>III</a:t>
            </a:r>
            <a:endParaRPr lang="de-DE" dirty="0">
              <a:solidFill>
                <a:srgbClr val="343434"/>
              </a:solidFill>
            </a:endParaRPr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xmlns="" id="{18B4579A-4238-40E2-906C-8E6A9538D842}"/>
              </a:ext>
            </a:extLst>
          </p:cNvPr>
          <p:cNvSpPr txBox="1">
            <a:spLocks/>
          </p:cNvSpPr>
          <p:nvPr/>
        </p:nvSpPr>
        <p:spPr>
          <a:xfrm>
            <a:off x="852784" y="1889341"/>
            <a:ext cx="4883782" cy="330864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IN" sz="2000" b="1" kern="1200" baseline="0" dirty="0">
                <a:solidFill>
                  <a:srgbClr val="002B6A"/>
                </a:solidFill>
                <a:latin typeface="Roboto Cn" pitchFamily="2" charset="0"/>
                <a:ea typeface="Roboto Cn" pitchFamily="2" charset="0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rgbClr val="FFFFFF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+mn-cs"/>
              </a:defRPr>
            </a:lvl2pPr>
            <a:lvl3pPr marL="914400" marR="0" indent="0" algn="ctr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kern="1200">
                <a:solidFill>
                  <a:srgbClr val="FFFFFF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rgbClr val="FFFFFF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rgbClr val="FFFFFF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1800" dirty="0" smtClean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What makes a good presentation?</a:t>
            </a:r>
            <a:endParaRPr lang="en-US" sz="1800" dirty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11" name="Textplatzhalter 5">
            <a:extLst>
              <a:ext uri="{FF2B5EF4-FFF2-40B4-BE49-F238E27FC236}">
                <a16:creationId xmlns:a16="http://schemas.microsoft.com/office/drawing/2014/main" xmlns="" id="{07259BD0-8F46-453D-852A-6EDA7FC8F2F5}"/>
              </a:ext>
            </a:extLst>
          </p:cNvPr>
          <p:cNvSpPr txBox="1">
            <a:spLocks/>
          </p:cNvSpPr>
          <p:nvPr/>
        </p:nvSpPr>
        <p:spPr>
          <a:xfrm>
            <a:off x="821018" y="2130725"/>
            <a:ext cx="4639504" cy="3830128"/>
          </a:xfrm>
          <a:prstGeom prst="rect">
            <a:avLst/>
          </a:prstGeom>
        </p:spPr>
        <p:txBody>
          <a:bodyPr/>
          <a:lstStyle>
            <a:lvl1pPr marL="285750" indent="-285750" algn="ctr" defTabSz="914400" rtl="0" eaLnBrk="1" latinLnBrk="0" hangingPunct="1">
              <a:lnSpc>
                <a:spcPts val="2400"/>
              </a:lnSpc>
              <a:spcBef>
                <a:spcPts val="1000"/>
              </a:spcBef>
              <a:buSzPct val="65000"/>
              <a:buFontTx/>
              <a:buBlip>
                <a:blip r:embed="rId4"/>
              </a:buBlip>
              <a:tabLst>
                <a:tab pos="1704975" algn="l"/>
              </a:tabLst>
              <a:defRPr lang="de-DE" sz="1600" kern="1200" dirty="0" err="1" smtClean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lang="de-DE" sz="1600" kern="1200" dirty="0" smtClean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+mn-cs"/>
              </a:defRPr>
            </a:lvl2pPr>
            <a:lvl3pPr marL="914400" marR="0" indent="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de-DE" sz="1600" kern="1200" dirty="0" smtClean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lang="de-DE" sz="1600" kern="1200" dirty="0" smtClean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lang="de-DE" sz="1600" kern="12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ts val="1800"/>
              </a:lnSpc>
              <a:buFontTx/>
              <a:buChar char="-"/>
            </a:pPr>
            <a:endParaRPr lang="de-DE" dirty="0">
              <a:solidFill>
                <a:schemeClr val="bg1">
                  <a:lumMod val="50000"/>
                </a:schemeClr>
              </a:solidFill>
            </a:endParaRPr>
          </a:p>
          <a:p>
            <a:pPr lvl="1">
              <a:lnSpc>
                <a:spcPct val="120000"/>
              </a:lnSpc>
              <a:spcBef>
                <a:spcPct val="0"/>
              </a:spcBef>
            </a:pPr>
            <a:r>
              <a:rPr lang="de-DE" altLang="de-DE" sz="1800" dirty="0" err="1"/>
              <a:t>clear</a:t>
            </a:r>
            <a:r>
              <a:rPr lang="de-DE" altLang="de-DE" sz="1800" dirty="0"/>
              <a:t> </a:t>
            </a:r>
            <a:r>
              <a:rPr lang="de-DE" altLang="de-DE" sz="1800" dirty="0" err="1"/>
              <a:t>structure</a:t>
            </a:r>
            <a:endParaRPr lang="de-DE" altLang="de-DE" sz="1800" dirty="0"/>
          </a:p>
          <a:p>
            <a:pPr lvl="1">
              <a:lnSpc>
                <a:spcPct val="120000"/>
              </a:lnSpc>
              <a:spcBef>
                <a:spcPct val="0"/>
              </a:spcBef>
            </a:pPr>
            <a:r>
              <a:rPr lang="de-DE" altLang="de-DE" sz="1800" dirty="0" err="1"/>
              <a:t>speak</a:t>
            </a:r>
            <a:r>
              <a:rPr lang="de-DE" altLang="de-DE" sz="1800" dirty="0"/>
              <a:t> </a:t>
            </a:r>
            <a:r>
              <a:rPr lang="de-DE" altLang="de-DE" sz="1800" dirty="0" err="1"/>
              <a:t>fluently</a:t>
            </a:r>
            <a:endParaRPr lang="de-DE" altLang="de-DE" sz="1800" dirty="0"/>
          </a:p>
          <a:p>
            <a:pPr lvl="1">
              <a:lnSpc>
                <a:spcPct val="120000"/>
              </a:lnSpc>
              <a:spcBef>
                <a:spcPct val="0"/>
              </a:spcBef>
            </a:pPr>
            <a:r>
              <a:rPr lang="de-DE" altLang="de-DE" sz="1800" dirty="0" err="1"/>
              <a:t>speak</a:t>
            </a:r>
            <a:r>
              <a:rPr lang="de-DE" altLang="de-DE" sz="1800" dirty="0"/>
              <a:t> </a:t>
            </a:r>
            <a:r>
              <a:rPr lang="de-DE" altLang="de-DE" sz="1800" dirty="0" err="1"/>
              <a:t>clearly</a:t>
            </a:r>
            <a:endParaRPr lang="de-DE" altLang="de-DE" sz="1800" dirty="0"/>
          </a:p>
          <a:p>
            <a:pPr lvl="1">
              <a:lnSpc>
                <a:spcPct val="120000"/>
              </a:lnSpc>
              <a:spcBef>
                <a:spcPct val="0"/>
              </a:spcBef>
            </a:pPr>
            <a:r>
              <a:rPr lang="de-DE" altLang="de-DE" sz="1800" dirty="0" err="1"/>
              <a:t>good</a:t>
            </a:r>
            <a:r>
              <a:rPr lang="de-DE" altLang="de-DE" sz="1800" dirty="0"/>
              <a:t> </a:t>
            </a:r>
            <a:r>
              <a:rPr lang="de-DE" altLang="de-DE" sz="1800" dirty="0" err="1"/>
              <a:t>body</a:t>
            </a:r>
            <a:r>
              <a:rPr lang="de-DE" altLang="de-DE" sz="1800" dirty="0"/>
              <a:t> </a:t>
            </a:r>
            <a:r>
              <a:rPr lang="de-DE" altLang="de-DE" sz="1800" dirty="0" err="1"/>
              <a:t>language</a:t>
            </a:r>
            <a:endParaRPr lang="de-DE" altLang="de-DE" sz="1800" dirty="0"/>
          </a:p>
          <a:p>
            <a:pPr lvl="1">
              <a:lnSpc>
                <a:spcPct val="120000"/>
              </a:lnSpc>
              <a:spcBef>
                <a:spcPct val="0"/>
              </a:spcBef>
            </a:pPr>
            <a:r>
              <a:rPr lang="de-DE" altLang="de-DE" sz="1800" dirty="0" err="1"/>
              <a:t>keep</a:t>
            </a:r>
            <a:r>
              <a:rPr lang="de-DE" altLang="de-DE" sz="1800" dirty="0"/>
              <a:t> </a:t>
            </a:r>
            <a:r>
              <a:rPr lang="de-DE" altLang="de-DE" sz="1800" dirty="0" err="1"/>
              <a:t>eye</a:t>
            </a:r>
            <a:r>
              <a:rPr lang="de-DE" altLang="de-DE" sz="1800" dirty="0"/>
              <a:t> </a:t>
            </a:r>
            <a:r>
              <a:rPr lang="de-DE" altLang="de-DE" sz="1800" dirty="0" err="1"/>
              <a:t>contact</a:t>
            </a:r>
            <a:endParaRPr lang="de-DE" altLang="de-DE" sz="1800" dirty="0"/>
          </a:p>
          <a:p>
            <a:pPr lvl="1">
              <a:lnSpc>
                <a:spcPct val="120000"/>
              </a:lnSpc>
              <a:spcBef>
                <a:spcPct val="0"/>
              </a:spcBef>
            </a:pPr>
            <a:r>
              <a:rPr lang="de-DE" altLang="de-DE" sz="1800" dirty="0" err="1"/>
              <a:t>audience</a:t>
            </a:r>
            <a:r>
              <a:rPr lang="de-DE" altLang="de-DE" sz="1800" dirty="0"/>
              <a:t> </a:t>
            </a:r>
            <a:r>
              <a:rPr lang="de-DE" altLang="de-DE" sz="1800" dirty="0" err="1"/>
              <a:t>involvement</a:t>
            </a:r>
            <a:endParaRPr lang="de-DE" altLang="de-DE" sz="1800" dirty="0"/>
          </a:p>
          <a:p>
            <a:pPr lvl="1">
              <a:lnSpc>
                <a:spcPct val="120000"/>
              </a:lnSpc>
              <a:spcBef>
                <a:spcPct val="0"/>
              </a:spcBef>
            </a:pPr>
            <a:r>
              <a:rPr lang="de-DE" altLang="de-DE" sz="1800" dirty="0" err="1"/>
              <a:t>good</a:t>
            </a:r>
            <a:r>
              <a:rPr lang="de-DE" altLang="de-DE" sz="1800" dirty="0"/>
              <a:t> </a:t>
            </a:r>
            <a:r>
              <a:rPr lang="de-DE" altLang="de-DE" sz="1800" dirty="0" err="1"/>
              <a:t>visuals</a:t>
            </a:r>
            <a:endParaRPr lang="de-DE" altLang="de-DE" sz="1800" dirty="0"/>
          </a:p>
          <a:p>
            <a:pPr lvl="1">
              <a:lnSpc>
                <a:spcPct val="120000"/>
              </a:lnSpc>
              <a:spcBef>
                <a:spcPct val="0"/>
              </a:spcBef>
            </a:pPr>
            <a:r>
              <a:rPr lang="de-DE" altLang="de-DE" sz="1800" dirty="0" err="1" smtClean="0"/>
              <a:t>good</a:t>
            </a:r>
            <a:r>
              <a:rPr lang="de-DE" altLang="de-DE" sz="1800" dirty="0" smtClean="0"/>
              <a:t> </a:t>
            </a:r>
            <a:r>
              <a:rPr lang="de-DE" altLang="de-DE" sz="1800" dirty="0" err="1" smtClean="0"/>
              <a:t>preparation</a:t>
            </a:r>
            <a:endParaRPr lang="de-DE" altLang="de-DE" sz="1800" dirty="0" smtClean="0"/>
          </a:p>
          <a:p>
            <a:pPr lvl="1">
              <a:lnSpc>
                <a:spcPct val="120000"/>
              </a:lnSpc>
              <a:spcBef>
                <a:spcPct val="0"/>
              </a:spcBef>
            </a:pPr>
            <a:r>
              <a:rPr lang="de-DE" altLang="de-DE" sz="1800" dirty="0" err="1" smtClean="0"/>
              <a:t>make</a:t>
            </a:r>
            <a:r>
              <a:rPr lang="de-DE" altLang="de-DE" sz="1800" dirty="0" smtClean="0"/>
              <a:t> </a:t>
            </a:r>
            <a:r>
              <a:rPr lang="de-DE" altLang="de-DE" sz="1800" dirty="0" err="1"/>
              <a:t>it</a:t>
            </a:r>
            <a:r>
              <a:rPr lang="de-DE" altLang="de-DE" sz="1800" dirty="0"/>
              <a:t> </a:t>
            </a:r>
            <a:r>
              <a:rPr lang="de-DE" altLang="de-DE" sz="1800" dirty="0" err="1"/>
              <a:t>interesting</a:t>
            </a:r>
            <a:r>
              <a:rPr lang="de-DE" altLang="de-DE" sz="1800" dirty="0"/>
              <a:t> </a:t>
            </a:r>
            <a:r>
              <a:rPr lang="de-DE" altLang="de-DE" sz="1800" dirty="0" err="1"/>
              <a:t>and</a:t>
            </a:r>
            <a:r>
              <a:rPr lang="de-DE" altLang="de-DE" sz="1800" dirty="0"/>
              <a:t> relevant</a:t>
            </a:r>
          </a:p>
          <a:p>
            <a:pPr lvl="1">
              <a:lnSpc>
                <a:spcPct val="120000"/>
              </a:lnSpc>
              <a:spcBef>
                <a:spcPct val="0"/>
              </a:spcBef>
            </a:pPr>
            <a:r>
              <a:rPr lang="de-DE" altLang="de-DE" sz="1800" dirty="0" err="1"/>
              <a:t>intonation</a:t>
            </a:r>
            <a:endParaRPr lang="de-DE" altLang="de-DE" sz="1800" dirty="0"/>
          </a:p>
          <a:p>
            <a:pPr algn="l">
              <a:lnSpc>
                <a:spcPts val="1800"/>
              </a:lnSpc>
              <a:buFontTx/>
              <a:buChar char="-"/>
            </a:pPr>
            <a:endParaRPr lang="de-DE" dirty="0">
              <a:solidFill>
                <a:schemeClr val="bg1">
                  <a:lumMod val="50000"/>
                </a:schemeClr>
              </a:solidFill>
            </a:endParaRPr>
          </a:p>
          <a:p>
            <a:pPr algn="l">
              <a:lnSpc>
                <a:spcPts val="1800"/>
              </a:lnSpc>
              <a:buFontTx/>
              <a:buChar char="-"/>
            </a:pPr>
            <a:endParaRPr lang="de-DE" dirty="0" smtClean="0">
              <a:solidFill>
                <a:schemeClr val="bg1">
                  <a:lumMod val="50000"/>
                </a:schemeClr>
              </a:solidFill>
            </a:endParaRPr>
          </a:p>
          <a:p>
            <a:pPr algn="l">
              <a:lnSpc>
                <a:spcPts val="1800"/>
              </a:lnSpc>
              <a:buFontTx/>
              <a:buChar char="-"/>
            </a:pPr>
            <a:endParaRPr lang="de-DE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14" name="Textplatzhalter 5">
            <a:extLst>
              <a:ext uri="{FF2B5EF4-FFF2-40B4-BE49-F238E27FC236}">
                <a16:creationId xmlns:a16="http://schemas.microsoft.com/office/drawing/2014/main" xmlns="" id="{E483239E-B7FF-4473-BEC7-2F375E16713D}"/>
              </a:ext>
            </a:extLst>
          </p:cNvPr>
          <p:cNvSpPr txBox="1">
            <a:spLocks/>
          </p:cNvSpPr>
          <p:nvPr/>
        </p:nvSpPr>
        <p:spPr>
          <a:xfrm>
            <a:off x="6096000" y="2501342"/>
            <a:ext cx="4830846" cy="2662842"/>
          </a:xfrm>
          <a:prstGeom prst="rect">
            <a:avLst/>
          </a:prstGeom>
        </p:spPr>
        <p:txBody>
          <a:bodyPr/>
          <a:lstStyle>
            <a:lvl1pPr marL="285750" indent="-285750" algn="ctr" defTabSz="914400" rtl="0" eaLnBrk="1" latinLnBrk="0" hangingPunct="1">
              <a:lnSpc>
                <a:spcPts val="2400"/>
              </a:lnSpc>
              <a:spcBef>
                <a:spcPts val="1000"/>
              </a:spcBef>
              <a:buSzPct val="65000"/>
              <a:buFontTx/>
              <a:buBlip>
                <a:blip r:embed="rId4"/>
              </a:buBlip>
              <a:tabLst>
                <a:tab pos="1704975" algn="l"/>
              </a:tabLst>
              <a:defRPr lang="de-DE" sz="1600" kern="1200" dirty="0" err="1" smtClean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lang="de-DE" sz="1600" kern="1200" dirty="0" smtClean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+mn-cs"/>
              </a:defRPr>
            </a:lvl2pPr>
            <a:lvl3pPr marL="914400" marR="0" indent="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de-DE" sz="1600" kern="1200" dirty="0" smtClean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lang="de-DE" sz="1600" kern="1200" dirty="0" smtClean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lang="de-DE" sz="1600" kern="12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ts val="1800"/>
              </a:lnSpc>
            </a:pPr>
            <a:endParaRPr lang="de-DE" dirty="0">
              <a:solidFill>
                <a:srgbClr val="343434"/>
              </a:solidFill>
            </a:endParaRPr>
          </a:p>
        </p:txBody>
      </p:sp>
      <p:sp>
        <p:nvSpPr>
          <p:cNvPr id="3" name="Textfeld 2"/>
          <p:cNvSpPr txBox="1"/>
          <p:nvPr/>
        </p:nvSpPr>
        <p:spPr>
          <a:xfrm>
            <a:off x="6095998" y="2449583"/>
            <a:ext cx="3927895" cy="30285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1">
              <a:lnSpc>
                <a:spcPct val="120000"/>
              </a:lnSpc>
              <a:spcBef>
                <a:spcPct val="0"/>
              </a:spcBef>
            </a:pPr>
            <a:r>
              <a:rPr lang="de-DE" altLang="de-DE" sz="1600" dirty="0" err="1"/>
              <a:t>pronunciation</a:t>
            </a:r>
            <a:endParaRPr lang="de-DE" altLang="de-DE" sz="1600" dirty="0"/>
          </a:p>
          <a:p>
            <a:pPr lvl="1">
              <a:lnSpc>
                <a:spcPct val="120000"/>
              </a:lnSpc>
              <a:spcBef>
                <a:spcPct val="0"/>
              </a:spcBef>
            </a:pPr>
            <a:r>
              <a:rPr lang="de-DE" altLang="de-DE" sz="1600" dirty="0" err="1"/>
              <a:t>be</a:t>
            </a:r>
            <a:r>
              <a:rPr lang="de-DE" altLang="de-DE" sz="1600" dirty="0"/>
              <a:t> </a:t>
            </a:r>
            <a:r>
              <a:rPr lang="de-DE" altLang="de-DE" sz="1600" dirty="0" err="1"/>
              <a:t>able</a:t>
            </a:r>
            <a:r>
              <a:rPr lang="de-DE" altLang="de-DE" sz="1600" dirty="0"/>
              <a:t> </a:t>
            </a:r>
            <a:r>
              <a:rPr lang="de-DE" altLang="de-DE" sz="1600" dirty="0" err="1"/>
              <a:t>to</a:t>
            </a:r>
            <a:r>
              <a:rPr lang="de-DE" altLang="de-DE" sz="1600" dirty="0"/>
              <a:t> </a:t>
            </a:r>
            <a:r>
              <a:rPr lang="de-DE" altLang="de-DE" sz="1600" dirty="0" err="1"/>
              <a:t>say</a:t>
            </a:r>
            <a:r>
              <a:rPr lang="de-DE" altLang="de-DE" sz="1600" dirty="0"/>
              <a:t> </a:t>
            </a:r>
            <a:r>
              <a:rPr lang="de-DE" altLang="de-DE" sz="1600" dirty="0" err="1"/>
              <a:t>it</a:t>
            </a:r>
            <a:r>
              <a:rPr lang="de-DE" altLang="de-DE" sz="1600" dirty="0"/>
              <a:t> in simple </a:t>
            </a:r>
            <a:r>
              <a:rPr lang="de-DE" altLang="de-DE" sz="1600" dirty="0" err="1" smtClean="0"/>
              <a:t>words</a:t>
            </a:r>
            <a:endParaRPr lang="de-DE" altLang="de-DE" sz="1600" dirty="0" smtClean="0"/>
          </a:p>
          <a:p>
            <a:pPr lvl="1">
              <a:lnSpc>
                <a:spcPct val="120000"/>
              </a:lnSpc>
              <a:spcBef>
                <a:spcPct val="0"/>
              </a:spcBef>
            </a:pPr>
            <a:r>
              <a:rPr lang="de-DE" altLang="de-DE" sz="1600" dirty="0"/>
              <a:t>easy </a:t>
            </a:r>
            <a:r>
              <a:rPr lang="de-DE" altLang="de-DE" sz="1600" dirty="0" err="1"/>
              <a:t>to</a:t>
            </a:r>
            <a:r>
              <a:rPr lang="de-DE" altLang="de-DE" sz="1600" dirty="0"/>
              <a:t> follow</a:t>
            </a:r>
          </a:p>
          <a:p>
            <a:pPr lvl="1">
              <a:lnSpc>
                <a:spcPct val="120000"/>
              </a:lnSpc>
              <a:spcBef>
                <a:spcPct val="0"/>
              </a:spcBef>
            </a:pPr>
            <a:r>
              <a:rPr lang="de-DE" altLang="de-DE" sz="1600" dirty="0" err="1">
                <a:solidFill>
                  <a:schemeClr val="bg1"/>
                </a:solidFill>
              </a:rPr>
              <a:t>no</a:t>
            </a:r>
            <a:r>
              <a:rPr lang="de-DE" altLang="de-DE" sz="1600" dirty="0">
                <a:solidFill>
                  <a:schemeClr val="bg1"/>
                </a:solidFill>
              </a:rPr>
              <a:t> funny </a:t>
            </a:r>
            <a:r>
              <a:rPr lang="de-DE" altLang="de-DE" sz="1600" dirty="0" err="1">
                <a:solidFill>
                  <a:schemeClr val="bg1"/>
                </a:solidFill>
              </a:rPr>
              <a:t>gestures</a:t>
            </a:r>
            <a:endParaRPr lang="de-DE" altLang="de-DE" sz="1600" dirty="0">
              <a:solidFill>
                <a:schemeClr val="bg1"/>
              </a:solidFill>
            </a:endParaRPr>
          </a:p>
          <a:p>
            <a:pPr lvl="1">
              <a:lnSpc>
                <a:spcPct val="120000"/>
              </a:lnSpc>
              <a:spcBef>
                <a:spcPct val="0"/>
              </a:spcBef>
            </a:pPr>
            <a:r>
              <a:rPr lang="de-DE" altLang="de-DE" sz="1600" dirty="0" err="1"/>
              <a:t>use</a:t>
            </a:r>
            <a:r>
              <a:rPr lang="de-DE" altLang="de-DE" sz="1600" dirty="0"/>
              <a:t> </a:t>
            </a:r>
            <a:r>
              <a:rPr lang="de-DE" altLang="de-DE" sz="1600" dirty="0" err="1"/>
              <a:t>of</a:t>
            </a:r>
            <a:r>
              <a:rPr lang="de-DE" altLang="de-DE" sz="1600" dirty="0"/>
              <a:t> </a:t>
            </a:r>
            <a:r>
              <a:rPr lang="de-DE" altLang="de-DE" sz="1600" dirty="0" err="1"/>
              <a:t>pauses</a:t>
            </a:r>
            <a:endParaRPr lang="de-DE" altLang="de-DE" sz="1600" dirty="0"/>
          </a:p>
          <a:p>
            <a:pPr lvl="1">
              <a:lnSpc>
                <a:spcPct val="120000"/>
              </a:lnSpc>
              <a:spcBef>
                <a:spcPct val="0"/>
              </a:spcBef>
            </a:pPr>
            <a:r>
              <a:rPr lang="de-DE" altLang="de-DE" sz="1600" dirty="0"/>
              <a:t>…</a:t>
            </a:r>
          </a:p>
          <a:p>
            <a:pPr lvl="1">
              <a:lnSpc>
                <a:spcPct val="120000"/>
              </a:lnSpc>
              <a:spcBef>
                <a:spcPct val="0"/>
              </a:spcBef>
            </a:pPr>
            <a:r>
              <a:rPr lang="de-DE" altLang="de-DE" sz="1600" dirty="0"/>
              <a:t>…</a:t>
            </a:r>
          </a:p>
          <a:p>
            <a:pPr lvl="1">
              <a:lnSpc>
                <a:spcPct val="120000"/>
              </a:lnSpc>
              <a:spcBef>
                <a:spcPct val="0"/>
              </a:spcBef>
            </a:pPr>
            <a:endParaRPr lang="de-DE" altLang="de-DE" sz="1600" dirty="0" smtClean="0"/>
          </a:p>
          <a:p>
            <a:pPr lvl="1">
              <a:lnSpc>
                <a:spcPct val="120000"/>
              </a:lnSpc>
              <a:spcBef>
                <a:spcPct val="0"/>
              </a:spcBef>
            </a:pPr>
            <a:endParaRPr lang="de-DE" altLang="de-DE" sz="1600" dirty="0"/>
          </a:p>
          <a:p>
            <a:endParaRPr lang="de-DE" dirty="0"/>
          </a:p>
        </p:txBody>
      </p:sp>
      <p:pic>
        <p:nvPicPr>
          <p:cNvPr id="2" name="Audio 1">
            <a:hlinkClick r:id="" action="ppaction://media"/>
          </p:cNvPr>
          <p:cNvPicPr>
            <a:picLocks noChangeAspect="1"/>
          </p:cNvPicPr>
          <p:nvPr>
            <a:audi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5"/>
          <a:stretch>
            <a:fillRect/>
          </a:stretch>
        </p:blipFill>
        <p:spPr>
          <a:xfrm>
            <a:off x="11488738" y="6154738"/>
            <a:ext cx="487362" cy="4873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453711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20262"/>
    </mc:Choice>
    <mc:Fallback xmlns="">
      <p:transition spd="slow" advTm="20262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 isNarration="1">
              <p:cMediaNode vol="80000" showWhenStopped="0">
                <p:cTn id="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2"/>
                </p:tgtEl>
              </p:cMediaNode>
            </p:audio>
          </p:childTnLst>
        </p:cTn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 8">
            <a:extLst>
              <a:ext uri="{FF2B5EF4-FFF2-40B4-BE49-F238E27FC236}">
                <a16:creationId xmlns:a16="http://schemas.microsoft.com/office/drawing/2014/main" xmlns="" id="{48D8A2D3-B443-4986-B1ED-38333861808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e-DE" dirty="0" smtClean="0">
                <a:solidFill>
                  <a:srgbClr val="343434"/>
                </a:solidFill>
              </a:rPr>
              <a:t>English </a:t>
            </a:r>
            <a:r>
              <a:rPr lang="de-DE" dirty="0" smtClean="0">
                <a:solidFill>
                  <a:srgbClr val="343434"/>
                </a:solidFill>
              </a:rPr>
              <a:t>III</a:t>
            </a:r>
            <a:endParaRPr lang="de-DE" dirty="0">
              <a:solidFill>
                <a:srgbClr val="343434"/>
              </a:solidFill>
            </a:endParaRPr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xmlns="" id="{18B4579A-4238-40E2-906C-8E6A9538D842}"/>
              </a:ext>
            </a:extLst>
          </p:cNvPr>
          <p:cNvSpPr txBox="1">
            <a:spLocks/>
          </p:cNvSpPr>
          <p:nvPr/>
        </p:nvSpPr>
        <p:spPr>
          <a:xfrm>
            <a:off x="852784" y="1889341"/>
            <a:ext cx="4883782" cy="330864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IN" sz="2000" b="1" kern="1200" baseline="0" dirty="0">
                <a:solidFill>
                  <a:srgbClr val="002B6A"/>
                </a:solidFill>
                <a:latin typeface="Roboto Cn" pitchFamily="2" charset="0"/>
                <a:ea typeface="Roboto Cn" pitchFamily="2" charset="0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rgbClr val="FFFFFF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+mn-cs"/>
              </a:defRPr>
            </a:lvl2pPr>
            <a:lvl3pPr marL="914400" marR="0" indent="0" algn="ctr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kern="1200">
                <a:solidFill>
                  <a:srgbClr val="FFFFFF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rgbClr val="FFFFFF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rgbClr val="FFFFFF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1800" dirty="0" smtClean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What makes a good presentation?</a:t>
            </a:r>
            <a:endParaRPr lang="en-US" sz="1800" dirty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11" name="Textplatzhalter 5">
            <a:extLst>
              <a:ext uri="{FF2B5EF4-FFF2-40B4-BE49-F238E27FC236}">
                <a16:creationId xmlns:a16="http://schemas.microsoft.com/office/drawing/2014/main" xmlns="" id="{07259BD0-8F46-453D-852A-6EDA7FC8F2F5}"/>
              </a:ext>
            </a:extLst>
          </p:cNvPr>
          <p:cNvSpPr txBox="1">
            <a:spLocks/>
          </p:cNvSpPr>
          <p:nvPr/>
        </p:nvSpPr>
        <p:spPr>
          <a:xfrm>
            <a:off x="821018" y="2130725"/>
            <a:ext cx="4639504" cy="3830128"/>
          </a:xfrm>
          <a:prstGeom prst="rect">
            <a:avLst/>
          </a:prstGeom>
        </p:spPr>
        <p:txBody>
          <a:bodyPr/>
          <a:lstStyle>
            <a:lvl1pPr marL="285750" indent="-285750" algn="ctr" defTabSz="914400" rtl="0" eaLnBrk="1" latinLnBrk="0" hangingPunct="1">
              <a:lnSpc>
                <a:spcPts val="2400"/>
              </a:lnSpc>
              <a:spcBef>
                <a:spcPts val="1000"/>
              </a:spcBef>
              <a:buSzPct val="65000"/>
              <a:buFontTx/>
              <a:buBlip>
                <a:blip r:embed="rId4"/>
              </a:buBlip>
              <a:tabLst>
                <a:tab pos="1704975" algn="l"/>
              </a:tabLst>
              <a:defRPr lang="de-DE" sz="1600" kern="1200" dirty="0" err="1" smtClean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lang="de-DE" sz="1600" kern="1200" dirty="0" smtClean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+mn-cs"/>
              </a:defRPr>
            </a:lvl2pPr>
            <a:lvl3pPr marL="914400" marR="0" indent="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de-DE" sz="1600" kern="1200" dirty="0" smtClean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lang="de-DE" sz="1600" kern="1200" dirty="0" smtClean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lang="de-DE" sz="1600" kern="12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ts val="1800"/>
              </a:lnSpc>
              <a:buFontTx/>
              <a:buChar char="-"/>
            </a:pPr>
            <a:endParaRPr lang="de-DE" dirty="0">
              <a:solidFill>
                <a:schemeClr val="bg1">
                  <a:lumMod val="50000"/>
                </a:schemeClr>
              </a:solidFill>
            </a:endParaRPr>
          </a:p>
          <a:p>
            <a:pPr lvl="1">
              <a:lnSpc>
                <a:spcPct val="120000"/>
              </a:lnSpc>
              <a:spcBef>
                <a:spcPct val="0"/>
              </a:spcBef>
            </a:pPr>
            <a:r>
              <a:rPr lang="de-DE" altLang="de-DE" sz="1800" dirty="0" err="1"/>
              <a:t>clear</a:t>
            </a:r>
            <a:r>
              <a:rPr lang="de-DE" altLang="de-DE" sz="1800" dirty="0"/>
              <a:t> </a:t>
            </a:r>
            <a:r>
              <a:rPr lang="de-DE" altLang="de-DE" sz="1800" dirty="0" err="1"/>
              <a:t>structure</a:t>
            </a:r>
            <a:endParaRPr lang="de-DE" altLang="de-DE" sz="1800" dirty="0"/>
          </a:p>
          <a:p>
            <a:pPr lvl="1">
              <a:lnSpc>
                <a:spcPct val="120000"/>
              </a:lnSpc>
              <a:spcBef>
                <a:spcPct val="0"/>
              </a:spcBef>
            </a:pPr>
            <a:r>
              <a:rPr lang="de-DE" altLang="de-DE" sz="1800" dirty="0" err="1"/>
              <a:t>speak</a:t>
            </a:r>
            <a:r>
              <a:rPr lang="de-DE" altLang="de-DE" sz="1800" dirty="0"/>
              <a:t> </a:t>
            </a:r>
            <a:r>
              <a:rPr lang="de-DE" altLang="de-DE" sz="1800" dirty="0" err="1"/>
              <a:t>fluently</a:t>
            </a:r>
            <a:endParaRPr lang="de-DE" altLang="de-DE" sz="1800" dirty="0"/>
          </a:p>
          <a:p>
            <a:pPr lvl="1">
              <a:lnSpc>
                <a:spcPct val="120000"/>
              </a:lnSpc>
              <a:spcBef>
                <a:spcPct val="0"/>
              </a:spcBef>
            </a:pPr>
            <a:r>
              <a:rPr lang="de-DE" altLang="de-DE" sz="1800" dirty="0" err="1"/>
              <a:t>speak</a:t>
            </a:r>
            <a:r>
              <a:rPr lang="de-DE" altLang="de-DE" sz="1800" dirty="0"/>
              <a:t> </a:t>
            </a:r>
            <a:r>
              <a:rPr lang="de-DE" altLang="de-DE" sz="1800" dirty="0" err="1"/>
              <a:t>clearly</a:t>
            </a:r>
            <a:endParaRPr lang="de-DE" altLang="de-DE" sz="1800" dirty="0"/>
          </a:p>
          <a:p>
            <a:pPr lvl="1">
              <a:lnSpc>
                <a:spcPct val="120000"/>
              </a:lnSpc>
              <a:spcBef>
                <a:spcPct val="0"/>
              </a:spcBef>
            </a:pPr>
            <a:r>
              <a:rPr lang="de-DE" altLang="de-DE" sz="1800" dirty="0" err="1"/>
              <a:t>good</a:t>
            </a:r>
            <a:r>
              <a:rPr lang="de-DE" altLang="de-DE" sz="1800" dirty="0"/>
              <a:t> </a:t>
            </a:r>
            <a:r>
              <a:rPr lang="de-DE" altLang="de-DE" sz="1800" dirty="0" err="1"/>
              <a:t>body</a:t>
            </a:r>
            <a:r>
              <a:rPr lang="de-DE" altLang="de-DE" sz="1800" dirty="0"/>
              <a:t> </a:t>
            </a:r>
            <a:r>
              <a:rPr lang="de-DE" altLang="de-DE" sz="1800" dirty="0" err="1"/>
              <a:t>language</a:t>
            </a:r>
            <a:endParaRPr lang="de-DE" altLang="de-DE" sz="1800" dirty="0"/>
          </a:p>
          <a:p>
            <a:pPr lvl="1">
              <a:lnSpc>
                <a:spcPct val="120000"/>
              </a:lnSpc>
              <a:spcBef>
                <a:spcPct val="0"/>
              </a:spcBef>
            </a:pPr>
            <a:r>
              <a:rPr lang="de-DE" altLang="de-DE" sz="1800" dirty="0" err="1"/>
              <a:t>keep</a:t>
            </a:r>
            <a:r>
              <a:rPr lang="de-DE" altLang="de-DE" sz="1800" dirty="0"/>
              <a:t> </a:t>
            </a:r>
            <a:r>
              <a:rPr lang="de-DE" altLang="de-DE" sz="1800" dirty="0" err="1"/>
              <a:t>eye</a:t>
            </a:r>
            <a:r>
              <a:rPr lang="de-DE" altLang="de-DE" sz="1800" dirty="0"/>
              <a:t> </a:t>
            </a:r>
            <a:r>
              <a:rPr lang="de-DE" altLang="de-DE" sz="1800" dirty="0" err="1"/>
              <a:t>contact</a:t>
            </a:r>
            <a:endParaRPr lang="de-DE" altLang="de-DE" sz="1800" dirty="0"/>
          </a:p>
          <a:p>
            <a:pPr lvl="1">
              <a:lnSpc>
                <a:spcPct val="120000"/>
              </a:lnSpc>
              <a:spcBef>
                <a:spcPct val="0"/>
              </a:spcBef>
            </a:pPr>
            <a:r>
              <a:rPr lang="de-DE" altLang="de-DE" sz="1800" dirty="0" err="1"/>
              <a:t>audience</a:t>
            </a:r>
            <a:r>
              <a:rPr lang="de-DE" altLang="de-DE" sz="1800" dirty="0"/>
              <a:t> </a:t>
            </a:r>
            <a:r>
              <a:rPr lang="de-DE" altLang="de-DE" sz="1800" dirty="0" err="1"/>
              <a:t>involvement</a:t>
            </a:r>
            <a:endParaRPr lang="de-DE" altLang="de-DE" sz="1800" dirty="0"/>
          </a:p>
          <a:p>
            <a:pPr lvl="1">
              <a:lnSpc>
                <a:spcPct val="120000"/>
              </a:lnSpc>
              <a:spcBef>
                <a:spcPct val="0"/>
              </a:spcBef>
            </a:pPr>
            <a:r>
              <a:rPr lang="de-DE" altLang="de-DE" sz="1800" dirty="0" err="1"/>
              <a:t>good</a:t>
            </a:r>
            <a:r>
              <a:rPr lang="de-DE" altLang="de-DE" sz="1800" dirty="0"/>
              <a:t> </a:t>
            </a:r>
            <a:r>
              <a:rPr lang="de-DE" altLang="de-DE" sz="1800" dirty="0" err="1"/>
              <a:t>visuals</a:t>
            </a:r>
            <a:endParaRPr lang="de-DE" altLang="de-DE" sz="1800" dirty="0"/>
          </a:p>
          <a:p>
            <a:pPr lvl="1">
              <a:lnSpc>
                <a:spcPct val="120000"/>
              </a:lnSpc>
              <a:spcBef>
                <a:spcPct val="0"/>
              </a:spcBef>
            </a:pPr>
            <a:r>
              <a:rPr lang="de-DE" altLang="de-DE" sz="1800" dirty="0" err="1" smtClean="0"/>
              <a:t>good</a:t>
            </a:r>
            <a:r>
              <a:rPr lang="de-DE" altLang="de-DE" sz="1800" dirty="0" smtClean="0"/>
              <a:t> </a:t>
            </a:r>
            <a:r>
              <a:rPr lang="de-DE" altLang="de-DE" sz="1800" dirty="0" err="1" smtClean="0"/>
              <a:t>preparation</a:t>
            </a:r>
            <a:endParaRPr lang="de-DE" altLang="de-DE" sz="1800" dirty="0" smtClean="0"/>
          </a:p>
          <a:p>
            <a:pPr lvl="1">
              <a:lnSpc>
                <a:spcPct val="120000"/>
              </a:lnSpc>
              <a:spcBef>
                <a:spcPct val="0"/>
              </a:spcBef>
            </a:pPr>
            <a:r>
              <a:rPr lang="de-DE" altLang="de-DE" sz="1800" dirty="0" err="1" smtClean="0"/>
              <a:t>make</a:t>
            </a:r>
            <a:r>
              <a:rPr lang="de-DE" altLang="de-DE" sz="1800" dirty="0" smtClean="0"/>
              <a:t> </a:t>
            </a:r>
            <a:r>
              <a:rPr lang="de-DE" altLang="de-DE" sz="1800" dirty="0" err="1"/>
              <a:t>it</a:t>
            </a:r>
            <a:r>
              <a:rPr lang="de-DE" altLang="de-DE" sz="1800" dirty="0"/>
              <a:t> </a:t>
            </a:r>
            <a:r>
              <a:rPr lang="de-DE" altLang="de-DE" sz="1800" dirty="0" err="1"/>
              <a:t>interesting</a:t>
            </a:r>
            <a:r>
              <a:rPr lang="de-DE" altLang="de-DE" sz="1800" dirty="0"/>
              <a:t> </a:t>
            </a:r>
            <a:r>
              <a:rPr lang="de-DE" altLang="de-DE" sz="1800" dirty="0" err="1"/>
              <a:t>and</a:t>
            </a:r>
            <a:r>
              <a:rPr lang="de-DE" altLang="de-DE" sz="1800" dirty="0"/>
              <a:t> relevant</a:t>
            </a:r>
          </a:p>
          <a:p>
            <a:pPr lvl="1">
              <a:lnSpc>
                <a:spcPct val="120000"/>
              </a:lnSpc>
              <a:spcBef>
                <a:spcPct val="0"/>
              </a:spcBef>
            </a:pPr>
            <a:r>
              <a:rPr lang="de-DE" altLang="de-DE" sz="1800" dirty="0" err="1"/>
              <a:t>intonation</a:t>
            </a:r>
            <a:endParaRPr lang="de-DE" altLang="de-DE" sz="1800" dirty="0"/>
          </a:p>
          <a:p>
            <a:pPr algn="l">
              <a:lnSpc>
                <a:spcPts val="1800"/>
              </a:lnSpc>
              <a:buFontTx/>
              <a:buChar char="-"/>
            </a:pPr>
            <a:endParaRPr lang="de-DE" dirty="0">
              <a:solidFill>
                <a:schemeClr val="bg1">
                  <a:lumMod val="50000"/>
                </a:schemeClr>
              </a:solidFill>
            </a:endParaRPr>
          </a:p>
          <a:p>
            <a:pPr algn="l">
              <a:lnSpc>
                <a:spcPts val="1800"/>
              </a:lnSpc>
              <a:buFontTx/>
              <a:buChar char="-"/>
            </a:pPr>
            <a:endParaRPr lang="de-DE" dirty="0" smtClean="0">
              <a:solidFill>
                <a:schemeClr val="bg1">
                  <a:lumMod val="50000"/>
                </a:schemeClr>
              </a:solidFill>
            </a:endParaRPr>
          </a:p>
          <a:p>
            <a:pPr algn="l">
              <a:lnSpc>
                <a:spcPts val="1800"/>
              </a:lnSpc>
              <a:buFontTx/>
              <a:buChar char="-"/>
            </a:pPr>
            <a:endParaRPr lang="de-DE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14" name="Textplatzhalter 5">
            <a:extLst>
              <a:ext uri="{FF2B5EF4-FFF2-40B4-BE49-F238E27FC236}">
                <a16:creationId xmlns:a16="http://schemas.microsoft.com/office/drawing/2014/main" xmlns="" id="{E483239E-B7FF-4473-BEC7-2F375E16713D}"/>
              </a:ext>
            </a:extLst>
          </p:cNvPr>
          <p:cNvSpPr txBox="1">
            <a:spLocks/>
          </p:cNvSpPr>
          <p:nvPr/>
        </p:nvSpPr>
        <p:spPr>
          <a:xfrm>
            <a:off x="6096000" y="2501342"/>
            <a:ext cx="4830846" cy="2662842"/>
          </a:xfrm>
          <a:prstGeom prst="rect">
            <a:avLst/>
          </a:prstGeom>
        </p:spPr>
        <p:txBody>
          <a:bodyPr/>
          <a:lstStyle>
            <a:lvl1pPr marL="285750" indent="-285750" algn="ctr" defTabSz="914400" rtl="0" eaLnBrk="1" latinLnBrk="0" hangingPunct="1">
              <a:lnSpc>
                <a:spcPts val="2400"/>
              </a:lnSpc>
              <a:spcBef>
                <a:spcPts val="1000"/>
              </a:spcBef>
              <a:buSzPct val="65000"/>
              <a:buFontTx/>
              <a:buBlip>
                <a:blip r:embed="rId4"/>
              </a:buBlip>
              <a:tabLst>
                <a:tab pos="1704975" algn="l"/>
              </a:tabLst>
              <a:defRPr lang="de-DE" sz="1600" kern="1200" dirty="0" err="1" smtClean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lang="de-DE" sz="1600" kern="1200" dirty="0" smtClean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+mn-cs"/>
              </a:defRPr>
            </a:lvl2pPr>
            <a:lvl3pPr marL="914400" marR="0" indent="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de-DE" sz="1600" kern="1200" dirty="0" smtClean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lang="de-DE" sz="1600" kern="1200" dirty="0" smtClean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lang="de-DE" sz="1600" kern="12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ts val="1800"/>
              </a:lnSpc>
            </a:pPr>
            <a:endParaRPr lang="de-DE" dirty="0">
              <a:solidFill>
                <a:srgbClr val="343434"/>
              </a:solidFill>
            </a:endParaRPr>
          </a:p>
        </p:txBody>
      </p:sp>
      <p:sp>
        <p:nvSpPr>
          <p:cNvPr id="3" name="Textfeld 2"/>
          <p:cNvSpPr txBox="1"/>
          <p:nvPr/>
        </p:nvSpPr>
        <p:spPr>
          <a:xfrm>
            <a:off x="6095998" y="2449583"/>
            <a:ext cx="3927895" cy="30285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1">
              <a:lnSpc>
                <a:spcPct val="120000"/>
              </a:lnSpc>
              <a:spcBef>
                <a:spcPct val="0"/>
              </a:spcBef>
            </a:pPr>
            <a:r>
              <a:rPr lang="de-DE" altLang="de-DE" sz="1600" dirty="0" err="1"/>
              <a:t>pronunciation</a:t>
            </a:r>
            <a:endParaRPr lang="de-DE" altLang="de-DE" sz="1600" dirty="0"/>
          </a:p>
          <a:p>
            <a:pPr lvl="1">
              <a:lnSpc>
                <a:spcPct val="120000"/>
              </a:lnSpc>
              <a:spcBef>
                <a:spcPct val="0"/>
              </a:spcBef>
            </a:pPr>
            <a:r>
              <a:rPr lang="de-DE" altLang="de-DE" sz="1600" dirty="0" err="1"/>
              <a:t>be</a:t>
            </a:r>
            <a:r>
              <a:rPr lang="de-DE" altLang="de-DE" sz="1600" dirty="0"/>
              <a:t> </a:t>
            </a:r>
            <a:r>
              <a:rPr lang="de-DE" altLang="de-DE" sz="1600" dirty="0" err="1"/>
              <a:t>able</a:t>
            </a:r>
            <a:r>
              <a:rPr lang="de-DE" altLang="de-DE" sz="1600" dirty="0"/>
              <a:t> </a:t>
            </a:r>
            <a:r>
              <a:rPr lang="de-DE" altLang="de-DE" sz="1600" dirty="0" err="1"/>
              <a:t>to</a:t>
            </a:r>
            <a:r>
              <a:rPr lang="de-DE" altLang="de-DE" sz="1600" dirty="0"/>
              <a:t> </a:t>
            </a:r>
            <a:r>
              <a:rPr lang="de-DE" altLang="de-DE" sz="1600" dirty="0" err="1"/>
              <a:t>say</a:t>
            </a:r>
            <a:r>
              <a:rPr lang="de-DE" altLang="de-DE" sz="1600" dirty="0"/>
              <a:t> </a:t>
            </a:r>
            <a:r>
              <a:rPr lang="de-DE" altLang="de-DE" sz="1600" dirty="0" err="1"/>
              <a:t>it</a:t>
            </a:r>
            <a:r>
              <a:rPr lang="de-DE" altLang="de-DE" sz="1600" dirty="0"/>
              <a:t> in simple </a:t>
            </a:r>
            <a:r>
              <a:rPr lang="de-DE" altLang="de-DE" sz="1600" dirty="0" err="1" smtClean="0"/>
              <a:t>words</a:t>
            </a:r>
            <a:endParaRPr lang="de-DE" altLang="de-DE" sz="1600" dirty="0" smtClean="0"/>
          </a:p>
          <a:p>
            <a:pPr lvl="1">
              <a:lnSpc>
                <a:spcPct val="120000"/>
              </a:lnSpc>
              <a:spcBef>
                <a:spcPct val="0"/>
              </a:spcBef>
            </a:pPr>
            <a:r>
              <a:rPr lang="de-DE" altLang="de-DE" sz="1600" dirty="0"/>
              <a:t>easy </a:t>
            </a:r>
            <a:r>
              <a:rPr lang="de-DE" altLang="de-DE" sz="1600" dirty="0" err="1"/>
              <a:t>to</a:t>
            </a:r>
            <a:r>
              <a:rPr lang="de-DE" altLang="de-DE" sz="1600" dirty="0"/>
              <a:t> follow</a:t>
            </a:r>
          </a:p>
          <a:p>
            <a:pPr lvl="1">
              <a:lnSpc>
                <a:spcPct val="120000"/>
              </a:lnSpc>
              <a:spcBef>
                <a:spcPct val="0"/>
              </a:spcBef>
            </a:pPr>
            <a:r>
              <a:rPr lang="de-DE" altLang="de-DE" sz="1600" dirty="0" err="1"/>
              <a:t>no</a:t>
            </a:r>
            <a:r>
              <a:rPr lang="de-DE" altLang="de-DE" sz="1600" dirty="0"/>
              <a:t> funny </a:t>
            </a:r>
            <a:r>
              <a:rPr lang="de-DE" altLang="de-DE" sz="1600" dirty="0" err="1"/>
              <a:t>gestures</a:t>
            </a:r>
            <a:endParaRPr lang="de-DE" altLang="de-DE" sz="1600" dirty="0"/>
          </a:p>
          <a:p>
            <a:pPr lvl="1">
              <a:lnSpc>
                <a:spcPct val="120000"/>
              </a:lnSpc>
              <a:spcBef>
                <a:spcPct val="0"/>
              </a:spcBef>
            </a:pPr>
            <a:r>
              <a:rPr lang="de-DE" altLang="de-DE" sz="1600" dirty="0" err="1">
                <a:solidFill>
                  <a:schemeClr val="bg1"/>
                </a:solidFill>
              </a:rPr>
              <a:t>use</a:t>
            </a:r>
            <a:r>
              <a:rPr lang="de-DE" altLang="de-DE" sz="1600" dirty="0">
                <a:solidFill>
                  <a:schemeClr val="bg1"/>
                </a:solidFill>
              </a:rPr>
              <a:t> </a:t>
            </a:r>
            <a:r>
              <a:rPr lang="de-DE" altLang="de-DE" sz="1600" dirty="0" err="1">
                <a:solidFill>
                  <a:schemeClr val="bg1"/>
                </a:solidFill>
              </a:rPr>
              <a:t>of</a:t>
            </a:r>
            <a:r>
              <a:rPr lang="de-DE" altLang="de-DE" sz="1600" dirty="0">
                <a:solidFill>
                  <a:schemeClr val="bg1"/>
                </a:solidFill>
              </a:rPr>
              <a:t> </a:t>
            </a:r>
            <a:r>
              <a:rPr lang="de-DE" altLang="de-DE" sz="1600" dirty="0" err="1">
                <a:solidFill>
                  <a:schemeClr val="bg1"/>
                </a:solidFill>
              </a:rPr>
              <a:t>pauses</a:t>
            </a:r>
            <a:endParaRPr lang="de-DE" altLang="de-DE" sz="1600" dirty="0">
              <a:solidFill>
                <a:schemeClr val="bg1"/>
              </a:solidFill>
            </a:endParaRPr>
          </a:p>
          <a:p>
            <a:pPr lvl="1">
              <a:lnSpc>
                <a:spcPct val="120000"/>
              </a:lnSpc>
              <a:spcBef>
                <a:spcPct val="0"/>
              </a:spcBef>
            </a:pPr>
            <a:r>
              <a:rPr lang="de-DE" altLang="de-DE" sz="1600" dirty="0"/>
              <a:t>…</a:t>
            </a:r>
          </a:p>
          <a:p>
            <a:pPr lvl="1">
              <a:lnSpc>
                <a:spcPct val="120000"/>
              </a:lnSpc>
              <a:spcBef>
                <a:spcPct val="0"/>
              </a:spcBef>
            </a:pPr>
            <a:r>
              <a:rPr lang="de-DE" altLang="de-DE" sz="1600" dirty="0"/>
              <a:t>…</a:t>
            </a:r>
          </a:p>
          <a:p>
            <a:pPr lvl="1">
              <a:lnSpc>
                <a:spcPct val="120000"/>
              </a:lnSpc>
              <a:spcBef>
                <a:spcPct val="0"/>
              </a:spcBef>
            </a:pPr>
            <a:endParaRPr lang="de-DE" altLang="de-DE" sz="1600" dirty="0" smtClean="0"/>
          </a:p>
          <a:p>
            <a:pPr lvl="1">
              <a:lnSpc>
                <a:spcPct val="120000"/>
              </a:lnSpc>
              <a:spcBef>
                <a:spcPct val="0"/>
              </a:spcBef>
            </a:pPr>
            <a:endParaRPr lang="de-DE" altLang="de-DE" sz="1600" dirty="0"/>
          </a:p>
          <a:p>
            <a:endParaRPr lang="de-DE" dirty="0"/>
          </a:p>
        </p:txBody>
      </p:sp>
      <p:pic>
        <p:nvPicPr>
          <p:cNvPr id="5" name="Audio 4">
            <a:hlinkClick r:id="" action="ppaction://media"/>
          </p:cNvPr>
          <p:cNvPicPr>
            <a:picLocks noChangeAspect="1"/>
          </p:cNvPicPr>
          <p:nvPr>
            <a:audi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5"/>
          <a:stretch>
            <a:fillRect/>
          </a:stretch>
        </p:blipFill>
        <p:spPr>
          <a:xfrm>
            <a:off x="11488738" y="6154738"/>
            <a:ext cx="487362" cy="4873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483811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22924"/>
    </mc:Choice>
    <mc:Fallback xmlns="">
      <p:transition spd="slow" advTm="22924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 isNarration="1">
              <p:cMediaNode vol="80000" showWhenStopped="0">
                <p:cTn id="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5"/>
                </p:tgtEl>
              </p:cMediaNode>
            </p:audio>
          </p:childTnLst>
        </p:cTn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 8">
            <a:extLst>
              <a:ext uri="{FF2B5EF4-FFF2-40B4-BE49-F238E27FC236}">
                <a16:creationId xmlns:a16="http://schemas.microsoft.com/office/drawing/2014/main" xmlns="" id="{48D8A2D3-B443-4986-B1ED-38333861808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e-DE" dirty="0" smtClean="0">
                <a:solidFill>
                  <a:srgbClr val="343434"/>
                </a:solidFill>
              </a:rPr>
              <a:t>English </a:t>
            </a:r>
            <a:r>
              <a:rPr lang="de-DE" dirty="0" smtClean="0">
                <a:solidFill>
                  <a:srgbClr val="343434"/>
                </a:solidFill>
              </a:rPr>
              <a:t>III</a:t>
            </a:r>
            <a:endParaRPr lang="de-DE" dirty="0">
              <a:solidFill>
                <a:srgbClr val="343434"/>
              </a:solidFill>
            </a:endParaRPr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xmlns="" id="{18B4579A-4238-40E2-906C-8E6A9538D842}"/>
              </a:ext>
            </a:extLst>
          </p:cNvPr>
          <p:cNvSpPr txBox="1">
            <a:spLocks/>
          </p:cNvSpPr>
          <p:nvPr/>
        </p:nvSpPr>
        <p:spPr>
          <a:xfrm>
            <a:off x="852784" y="1889341"/>
            <a:ext cx="4883782" cy="330864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IN" sz="2000" b="1" kern="1200" baseline="0" dirty="0">
                <a:solidFill>
                  <a:srgbClr val="002B6A"/>
                </a:solidFill>
                <a:latin typeface="Roboto Cn" pitchFamily="2" charset="0"/>
                <a:ea typeface="Roboto Cn" pitchFamily="2" charset="0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rgbClr val="FFFFFF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+mn-cs"/>
              </a:defRPr>
            </a:lvl2pPr>
            <a:lvl3pPr marL="914400" marR="0" indent="0" algn="ctr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kern="1200">
                <a:solidFill>
                  <a:srgbClr val="FFFFFF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rgbClr val="FFFFFF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rgbClr val="FFFFFF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1800" dirty="0" smtClean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What makes a good presentation?</a:t>
            </a:r>
            <a:endParaRPr lang="en-US" sz="1800" dirty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11" name="Textplatzhalter 5">
            <a:extLst>
              <a:ext uri="{FF2B5EF4-FFF2-40B4-BE49-F238E27FC236}">
                <a16:creationId xmlns:a16="http://schemas.microsoft.com/office/drawing/2014/main" xmlns="" id="{07259BD0-8F46-453D-852A-6EDA7FC8F2F5}"/>
              </a:ext>
            </a:extLst>
          </p:cNvPr>
          <p:cNvSpPr txBox="1">
            <a:spLocks/>
          </p:cNvSpPr>
          <p:nvPr/>
        </p:nvSpPr>
        <p:spPr>
          <a:xfrm>
            <a:off x="821018" y="2130725"/>
            <a:ext cx="4639504" cy="3830128"/>
          </a:xfrm>
          <a:prstGeom prst="rect">
            <a:avLst/>
          </a:prstGeom>
        </p:spPr>
        <p:txBody>
          <a:bodyPr/>
          <a:lstStyle>
            <a:lvl1pPr marL="285750" indent="-285750" algn="ctr" defTabSz="914400" rtl="0" eaLnBrk="1" latinLnBrk="0" hangingPunct="1">
              <a:lnSpc>
                <a:spcPts val="2400"/>
              </a:lnSpc>
              <a:spcBef>
                <a:spcPts val="1000"/>
              </a:spcBef>
              <a:buSzPct val="65000"/>
              <a:buFontTx/>
              <a:buBlip>
                <a:blip r:embed="rId4"/>
              </a:buBlip>
              <a:tabLst>
                <a:tab pos="1704975" algn="l"/>
              </a:tabLst>
              <a:defRPr lang="de-DE" sz="1600" kern="1200" dirty="0" err="1" smtClean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lang="de-DE" sz="1600" kern="1200" dirty="0" smtClean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+mn-cs"/>
              </a:defRPr>
            </a:lvl2pPr>
            <a:lvl3pPr marL="914400" marR="0" indent="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de-DE" sz="1600" kern="1200" dirty="0" smtClean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lang="de-DE" sz="1600" kern="1200" dirty="0" smtClean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lang="de-DE" sz="1600" kern="12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ts val="1800"/>
              </a:lnSpc>
              <a:buFontTx/>
              <a:buChar char="-"/>
            </a:pPr>
            <a:endParaRPr lang="de-DE" dirty="0">
              <a:solidFill>
                <a:schemeClr val="bg1">
                  <a:lumMod val="50000"/>
                </a:schemeClr>
              </a:solidFill>
            </a:endParaRPr>
          </a:p>
          <a:p>
            <a:pPr lvl="1">
              <a:lnSpc>
                <a:spcPct val="120000"/>
              </a:lnSpc>
              <a:spcBef>
                <a:spcPct val="0"/>
              </a:spcBef>
            </a:pPr>
            <a:r>
              <a:rPr lang="de-DE" altLang="de-DE" sz="1800" dirty="0" err="1"/>
              <a:t>clear</a:t>
            </a:r>
            <a:r>
              <a:rPr lang="de-DE" altLang="de-DE" sz="1800" dirty="0"/>
              <a:t> </a:t>
            </a:r>
            <a:r>
              <a:rPr lang="de-DE" altLang="de-DE" sz="1800" dirty="0" err="1"/>
              <a:t>structure</a:t>
            </a:r>
            <a:endParaRPr lang="de-DE" altLang="de-DE" sz="1800" dirty="0"/>
          </a:p>
          <a:p>
            <a:pPr lvl="1">
              <a:lnSpc>
                <a:spcPct val="120000"/>
              </a:lnSpc>
              <a:spcBef>
                <a:spcPct val="0"/>
              </a:spcBef>
            </a:pPr>
            <a:r>
              <a:rPr lang="de-DE" altLang="de-DE" sz="1800" dirty="0" err="1"/>
              <a:t>speak</a:t>
            </a:r>
            <a:r>
              <a:rPr lang="de-DE" altLang="de-DE" sz="1800" dirty="0"/>
              <a:t> </a:t>
            </a:r>
            <a:r>
              <a:rPr lang="de-DE" altLang="de-DE" sz="1800" dirty="0" err="1"/>
              <a:t>fluently</a:t>
            </a:r>
            <a:endParaRPr lang="de-DE" altLang="de-DE" sz="1800" dirty="0"/>
          </a:p>
          <a:p>
            <a:pPr lvl="1">
              <a:lnSpc>
                <a:spcPct val="120000"/>
              </a:lnSpc>
              <a:spcBef>
                <a:spcPct val="0"/>
              </a:spcBef>
            </a:pPr>
            <a:r>
              <a:rPr lang="de-DE" altLang="de-DE" sz="1800" dirty="0" err="1"/>
              <a:t>speak</a:t>
            </a:r>
            <a:r>
              <a:rPr lang="de-DE" altLang="de-DE" sz="1800" dirty="0"/>
              <a:t> </a:t>
            </a:r>
            <a:r>
              <a:rPr lang="de-DE" altLang="de-DE" sz="1800" dirty="0" err="1"/>
              <a:t>clearly</a:t>
            </a:r>
            <a:endParaRPr lang="de-DE" altLang="de-DE" sz="1800" dirty="0"/>
          </a:p>
          <a:p>
            <a:pPr lvl="1">
              <a:lnSpc>
                <a:spcPct val="120000"/>
              </a:lnSpc>
              <a:spcBef>
                <a:spcPct val="0"/>
              </a:spcBef>
            </a:pPr>
            <a:r>
              <a:rPr lang="de-DE" altLang="de-DE" sz="1800" dirty="0" err="1"/>
              <a:t>good</a:t>
            </a:r>
            <a:r>
              <a:rPr lang="de-DE" altLang="de-DE" sz="1800" dirty="0"/>
              <a:t> </a:t>
            </a:r>
            <a:r>
              <a:rPr lang="de-DE" altLang="de-DE" sz="1800" dirty="0" err="1"/>
              <a:t>body</a:t>
            </a:r>
            <a:r>
              <a:rPr lang="de-DE" altLang="de-DE" sz="1800" dirty="0"/>
              <a:t> </a:t>
            </a:r>
            <a:r>
              <a:rPr lang="de-DE" altLang="de-DE" sz="1800" dirty="0" err="1"/>
              <a:t>language</a:t>
            </a:r>
            <a:endParaRPr lang="de-DE" altLang="de-DE" sz="1800" dirty="0"/>
          </a:p>
          <a:p>
            <a:pPr lvl="1">
              <a:lnSpc>
                <a:spcPct val="120000"/>
              </a:lnSpc>
              <a:spcBef>
                <a:spcPct val="0"/>
              </a:spcBef>
            </a:pPr>
            <a:r>
              <a:rPr lang="de-DE" altLang="de-DE" sz="1800" dirty="0" err="1"/>
              <a:t>keep</a:t>
            </a:r>
            <a:r>
              <a:rPr lang="de-DE" altLang="de-DE" sz="1800" dirty="0"/>
              <a:t> </a:t>
            </a:r>
            <a:r>
              <a:rPr lang="de-DE" altLang="de-DE" sz="1800" dirty="0" err="1"/>
              <a:t>eye</a:t>
            </a:r>
            <a:r>
              <a:rPr lang="de-DE" altLang="de-DE" sz="1800" dirty="0"/>
              <a:t> </a:t>
            </a:r>
            <a:r>
              <a:rPr lang="de-DE" altLang="de-DE" sz="1800" dirty="0" err="1"/>
              <a:t>contact</a:t>
            </a:r>
            <a:endParaRPr lang="de-DE" altLang="de-DE" sz="1800" dirty="0"/>
          </a:p>
          <a:p>
            <a:pPr lvl="1">
              <a:lnSpc>
                <a:spcPct val="120000"/>
              </a:lnSpc>
              <a:spcBef>
                <a:spcPct val="0"/>
              </a:spcBef>
            </a:pPr>
            <a:r>
              <a:rPr lang="de-DE" altLang="de-DE" sz="1800" dirty="0" err="1"/>
              <a:t>audience</a:t>
            </a:r>
            <a:r>
              <a:rPr lang="de-DE" altLang="de-DE" sz="1800" dirty="0"/>
              <a:t> </a:t>
            </a:r>
            <a:r>
              <a:rPr lang="de-DE" altLang="de-DE" sz="1800" dirty="0" err="1"/>
              <a:t>involvement</a:t>
            </a:r>
            <a:endParaRPr lang="de-DE" altLang="de-DE" sz="1800" dirty="0"/>
          </a:p>
          <a:p>
            <a:pPr lvl="1">
              <a:lnSpc>
                <a:spcPct val="120000"/>
              </a:lnSpc>
              <a:spcBef>
                <a:spcPct val="0"/>
              </a:spcBef>
            </a:pPr>
            <a:r>
              <a:rPr lang="de-DE" altLang="de-DE" sz="1800" dirty="0" err="1"/>
              <a:t>good</a:t>
            </a:r>
            <a:r>
              <a:rPr lang="de-DE" altLang="de-DE" sz="1800" dirty="0"/>
              <a:t> </a:t>
            </a:r>
            <a:r>
              <a:rPr lang="de-DE" altLang="de-DE" sz="1800" dirty="0" err="1"/>
              <a:t>visuals</a:t>
            </a:r>
            <a:endParaRPr lang="de-DE" altLang="de-DE" sz="1800" dirty="0"/>
          </a:p>
          <a:p>
            <a:pPr lvl="1">
              <a:lnSpc>
                <a:spcPct val="120000"/>
              </a:lnSpc>
              <a:spcBef>
                <a:spcPct val="0"/>
              </a:spcBef>
            </a:pPr>
            <a:r>
              <a:rPr lang="de-DE" altLang="de-DE" sz="1800" dirty="0" err="1" smtClean="0"/>
              <a:t>good</a:t>
            </a:r>
            <a:r>
              <a:rPr lang="de-DE" altLang="de-DE" sz="1800" dirty="0" smtClean="0"/>
              <a:t> </a:t>
            </a:r>
            <a:r>
              <a:rPr lang="de-DE" altLang="de-DE" sz="1800" dirty="0" err="1" smtClean="0"/>
              <a:t>preparation</a:t>
            </a:r>
            <a:endParaRPr lang="de-DE" altLang="de-DE" sz="1800" dirty="0" smtClean="0"/>
          </a:p>
          <a:p>
            <a:pPr lvl="1">
              <a:lnSpc>
                <a:spcPct val="120000"/>
              </a:lnSpc>
              <a:spcBef>
                <a:spcPct val="0"/>
              </a:spcBef>
            </a:pPr>
            <a:r>
              <a:rPr lang="de-DE" altLang="de-DE" sz="1800" dirty="0" err="1" smtClean="0"/>
              <a:t>make</a:t>
            </a:r>
            <a:r>
              <a:rPr lang="de-DE" altLang="de-DE" sz="1800" dirty="0" smtClean="0"/>
              <a:t> </a:t>
            </a:r>
            <a:r>
              <a:rPr lang="de-DE" altLang="de-DE" sz="1800" dirty="0" err="1"/>
              <a:t>it</a:t>
            </a:r>
            <a:r>
              <a:rPr lang="de-DE" altLang="de-DE" sz="1800" dirty="0"/>
              <a:t> </a:t>
            </a:r>
            <a:r>
              <a:rPr lang="de-DE" altLang="de-DE" sz="1800" dirty="0" err="1"/>
              <a:t>interesting</a:t>
            </a:r>
            <a:r>
              <a:rPr lang="de-DE" altLang="de-DE" sz="1800" dirty="0"/>
              <a:t> </a:t>
            </a:r>
            <a:r>
              <a:rPr lang="de-DE" altLang="de-DE" sz="1800" dirty="0" err="1"/>
              <a:t>and</a:t>
            </a:r>
            <a:r>
              <a:rPr lang="de-DE" altLang="de-DE" sz="1800" dirty="0"/>
              <a:t> relevant</a:t>
            </a:r>
          </a:p>
          <a:p>
            <a:pPr lvl="1">
              <a:lnSpc>
                <a:spcPct val="120000"/>
              </a:lnSpc>
              <a:spcBef>
                <a:spcPct val="0"/>
              </a:spcBef>
            </a:pPr>
            <a:r>
              <a:rPr lang="de-DE" altLang="de-DE" sz="1800" dirty="0" err="1"/>
              <a:t>intonation</a:t>
            </a:r>
            <a:endParaRPr lang="de-DE" altLang="de-DE" sz="1800" dirty="0"/>
          </a:p>
          <a:p>
            <a:pPr algn="l">
              <a:lnSpc>
                <a:spcPts val="1800"/>
              </a:lnSpc>
              <a:buFontTx/>
              <a:buChar char="-"/>
            </a:pPr>
            <a:endParaRPr lang="de-DE" dirty="0">
              <a:solidFill>
                <a:schemeClr val="bg1">
                  <a:lumMod val="50000"/>
                </a:schemeClr>
              </a:solidFill>
            </a:endParaRPr>
          </a:p>
          <a:p>
            <a:pPr algn="l">
              <a:lnSpc>
                <a:spcPts val="1800"/>
              </a:lnSpc>
              <a:buFontTx/>
              <a:buChar char="-"/>
            </a:pPr>
            <a:endParaRPr lang="de-DE" dirty="0" smtClean="0">
              <a:solidFill>
                <a:schemeClr val="bg1">
                  <a:lumMod val="50000"/>
                </a:schemeClr>
              </a:solidFill>
            </a:endParaRPr>
          </a:p>
          <a:p>
            <a:pPr algn="l">
              <a:lnSpc>
                <a:spcPts val="1800"/>
              </a:lnSpc>
              <a:buFontTx/>
              <a:buChar char="-"/>
            </a:pPr>
            <a:endParaRPr lang="de-DE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14" name="Textplatzhalter 5">
            <a:extLst>
              <a:ext uri="{FF2B5EF4-FFF2-40B4-BE49-F238E27FC236}">
                <a16:creationId xmlns:a16="http://schemas.microsoft.com/office/drawing/2014/main" xmlns="" id="{E483239E-B7FF-4473-BEC7-2F375E16713D}"/>
              </a:ext>
            </a:extLst>
          </p:cNvPr>
          <p:cNvSpPr txBox="1">
            <a:spLocks/>
          </p:cNvSpPr>
          <p:nvPr/>
        </p:nvSpPr>
        <p:spPr>
          <a:xfrm>
            <a:off x="6096000" y="2501342"/>
            <a:ext cx="4830846" cy="2662842"/>
          </a:xfrm>
          <a:prstGeom prst="rect">
            <a:avLst/>
          </a:prstGeom>
        </p:spPr>
        <p:txBody>
          <a:bodyPr/>
          <a:lstStyle>
            <a:lvl1pPr marL="285750" indent="-285750" algn="ctr" defTabSz="914400" rtl="0" eaLnBrk="1" latinLnBrk="0" hangingPunct="1">
              <a:lnSpc>
                <a:spcPts val="2400"/>
              </a:lnSpc>
              <a:spcBef>
                <a:spcPts val="1000"/>
              </a:spcBef>
              <a:buSzPct val="65000"/>
              <a:buFontTx/>
              <a:buBlip>
                <a:blip r:embed="rId4"/>
              </a:buBlip>
              <a:tabLst>
                <a:tab pos="1704975" algn="l"/>
              </a:tabLst>
              <a:defRPr lang="de-DE" sz="1600" kern="1200" dirty="0" err="1" smtClean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lang="de-DE" sz="1600" kern="1200" dirty="0" smtClean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+mn-cs"/>
              </a:defRPr>
            </a:lvl2pPr>
            <a:lvl3pPr marL="914400" marR="0" indent="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de-DE" sz="1600" kern="1200" dirty="0" smtClean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lang="de-DE" sz="1600" kern="1200" dirty="0" smtClean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lang="de-DE" sz="1600" kern="12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ts val="1800"/>
              </a:lnSpc>
            </a:pPr>
            <a:endParaRPr lang="de-DE" dirty="0">
              <a:solidFill>
                <a:srgbClr val="343434"/>
              </a:solidFill>
            </a:endParaRPr>
          </a:p>
        </p:txBody>
      </p:sp>
      <p:sp>
        <p:nvSpPr>
          <p:cNvPr id="3" name="Textfeld 2"/>
          <p:cNvSpPr txBox="1"/>
          <p:nvPr/>
        </p:nvSpPr>
        <p:spPr>
          <a:xfrm>
            <a:off x="6095998" y="2449583"/>
            <a:ext cx="3927895" cy="30285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1">
              <a:lnSpc>
                <a:spcPct val="120000"/>
              </a:lnSpc>
              <a:spcBef>
                <a:spcPct val="0"/>
              </a:spcBef>
            </a:pPr>
            <a:r>
              <a:rPr lang="de-DE" altLang="de-DE" sz="1600" dirty="0" err="1"/>
              <a:t>pronunciation</a:t>
            </a:r>
            <a:endParaRPr lang="de-DE" altLang="de-DE" sz="1600" dirty="0"/>
          </a:p>
          <a:p>
            <a:pPr lvl="1">
              <a:lnSpc>
                <a:spcPct val="120000"/>
              </a:lnSpc>
              <a:spcBef>
                <a:spcPct val="0"/>
              </a:spcBef>
            </a:pPr>
            <a:r>
              <a:rPr lang="de-DE" altLang="de-DE" sz="1600" dirty="0" err="1"/>
              <a:t>be</a:t>
            </a:r>
            <a:r>
              <a:rPr lang="de-DE" altLang="de-DE" sz="1600" dirty="0"/>
              <a:t> </a:t>
            </a:r>
            <a:r>
              <a:rPr lang="de-DE" altLang="de-DE" sz="1600" dirty="0" err="1"/>
              <a:t>able</a:t>
            </a:r>
            <a:r>
              <a:rPr lang="de-DE" altLang="de-DE" sz="1600" dirty="0"/>
              <a:t> </a:t>
            </a:r>
            <a:r>
              <a:rPr lang="de-DE" altLang="de-DE" sz="1600" dirty="0" err="1"/>
              <a:t>to</a:t>
            </a:r>
            <a:r>
              <a:rPr lang="de-DE" altLang="de-DE" sz="1600" dirty="0"/>
              <a:t> </a:t>
            </a:r>
            <a:r>
              <a:rPr lang="de-DE" altLang="de-DE" sz="1600" dirty="0" err="1"/>
              <a:t>say</a:t>
            </a:r>
            <a:r>
              <a:rPr lang="de-DE" altLang="de-DE" sz="1600" dirty="0"/>
              <a:t> </a:t>
            </a:r>
            <a:r>
              <a:rPr lang="de-DE" altLang="de-DE" sz="1600" dirty="0" err="1"/>
              <a:t>it</a:t>
            </a:r>
            <a:r>
              <a:rPr lang="de-DE" altLang="de-DE" sz="1600" dirty="0"/>
              <a:t> in simple </a:t>
            </a:r>
            <a:r>
              <a:rPr lang="de-DE" altLang="de-DE" sz="1600" dirty="0" err="1" smtClean="0"/>
              <a:t>words</a:t>
            </a:r>
            <a:endParaRPr lang="de-DE" altLang="de-DE" sz="1600" dirty="0" smtClean="0"/>
          </a:p>
          <a:p>
            <a:pPr lvl="1">
              <a:lnSpc>
                <a:spcPct val="120000"/>
              </a:lnSpc>
              <a:spcBef>
                <a:spcPct val="0"/>
              </a:spcBef>
            </a:pPr>
            <a:r>
              <a:rPr lang="de-DE" altLang="de-DE" sz="1600" dirty="0"/>
              <a:t>easy </a:t>
            </a:r>
            <a:r>
              <a:rPr lang="de-DE" altLang="de-DE" sz="1600" dirty="0" err="1"/>
              <a:t>to</a:t>
            </a:r>
            <a:r>
              <a:rPr lang="de-DE" altLang="de-DE" sz="1600" dirty="0"/>
              <a:t> follow</a:t>
            </a:r>
          </a:p>
          <a:p>
            <a:pPr lvl="1">
              <a:lnSpc>
                <a:spcPct val="120000"/>
              </a:lnSpc>
              <a:spcBef>
                <a:spcPct val="0"/>
              </a:spcBef>
            </a:pPr>
            <a:r>
              <a:rPr lang="de-DE" altLang="de-DE" sz="1600" dirty="0" err="1"/>
              <a:t>no</a:t>
            </a:r>
            <a:r>
              <a:rPr lang="de-DE" altLang="de-DE" sz="1600" dirty="0"/>
              <a:t> funny </a:t>
            </a:r>
            <a:r>
              <a:rPr lang="de-DE" altLang="de-DE" sz="1600" dirty="0" err="1"/>
              <a:t>gestures</a:t>
            </a:r>
            <a:endParaRPr lang="de-DE" altLang="de-DE" sz="1600" dirty="0"/>
          </a:p>
          <a:p>
            <a:pPr lvl="1">
              <a:lnSpc>
                <a:spcPct val="120000"/>
              </a:lnSpc>
              <a:spcBef>
                <a:spcPct val="0"/>
              </a:spcBef>
            </a:pPr>
            <a:r>
              <a:rPr lang="de-DE" altLang="de-DE" sz="1600" dirty="0" err="1"/>
              <a:t>use</a:t>
            </a:r>
            <a:r>
              <a:rPr lang="de-DE" altLang="de-DE" sz="1600" dirty="0"/>
              <a:t> </a:t>
            </a:r>
            <a:r>
              <a:rPr lang="de-DE" altLang="de-DE" sz="1600" dirty="0" err="1"/>
              <a:t>of</a:t>
            </a:r>
            <a:r>
              <a:rPr lang="de-DE" altLang="de-DE" sz="1600" dirty="0"/>
              <a:t> </a:t>
            </a:r>
            <a:r>
              <a:rPr lang="de-DE" altLang="de-DE" sz="1600" dirty="0" err="1"/>
              <a:t>pauses</a:t>
            </a:r>
            <a:endParaRPr lang="de-DE" altLang="de-DE" sz="1600" dirty="0"/>
          </a:p>
          <a:p>
            <a:pPr lvl="1">
              <a:lnSpc>
                <a:spcPct val="120000"/>
              </a:lnSpc>
              <a:spcBef>
                <a:spcPct val="0"/>
              </a:spcBef>
            </a:pPr>
            <a:r>
              <a:rPr lang="de-DE" altLang="de-DE" sz="1600" dirty="0">
                <a:solidFill>
                  <a:schemeClr val="bg1"/>
                </a:solidFill>
              </a:rPr>
              <a:t>…</a:t>
            </a:r>
          </a:p>
          <a:p>
            <a:pPr lvl="1">
              <a:lnSpc>
                <a:spcPct val="120000"/>
              </a:lnSpc>
              <a:spcBef>
                <a:spcPct val="0"/>
              </a:spcBef>
            </a:pPr>
            <a:r>
              <a:rPr lang="de-DE" altLang="de-DE" sz="1600" dirty="0">
                <a:solidFill>
                  <a:schemeClr val="bg1"/>
                </a:solidFill>
              </a:rPr>
              <a:t>…</a:t>
            </a:r>
          </a:p>
          <a:p>
            <a:pPr lvl="1">
              <a:lnSpc>
                <a:spcPct val="120000"/>
              </a:lnSpc>
              <a:spcBef>
                <a:spcPct val="0"/>
              </a:spcBef>
            </a:pPr>
            <a:endParaRPr lang="de-DE" altLang="de-DE" sz="1600" dirty="0" smtClean="0"/>
          </a:p>
          <a:p>
            <a:pPr lvl="1">
              <a:lnSpc>
                <a:spcPct val="120000"/>
              </a:lnSpc>
              <a:spcBef>
                <a:spcPct val="0"/>
              </a:spcBef>
            </a:pPr>
            <a:endParaRPr lang="de-DE" altLang="de-DE" sz="1600" dirty="0"/>
          </a:p>
          <a:p>
            <a:endParaRPr lang="de-DE" dirty="0"/>
          </a:p>
        </p:txBody>
      </p:sp>
      <p:pic>
        <p:nvPicPr>
          <p:cNvPr id="4" name="Audio 3">
            <a:hlinkClick r:id="" action="ppaction://media"/>
          </p:cNvPr>
          <p:cNvPicPr>
            <a:picLocks noChangeAspect="1"/>
          </p:cNvPicPr>
          <p:nvPr>
            <a:audi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5"/>
          <a:stretch>
            <a:fillRect/>
          </a:stretch>
        </p:blipFill>
        <p:spPr>
          <a:xfrm>
            <a:off x="11488738" y="6154738"/>
            <a:ext cx="487362" cy="4873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039031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14178"/>
    </mc:Choice>
    <mc:Fallback xmlns="">
      <p:transition spd="slow" advTm="14178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 isNarration="1">
              <p:cMediaNode vol="80000" showWhenStopped="0">
                <p:cTn id="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4"/>
                </p:tgtEl>
              </p:cMediaNode>
            </p:audio>
          </p:childTnLst>
        </p:cTn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 8">
            <a:extLst>
              <a:ext uri="{FF2B5EF4-FFF2-40B4-BE49-F238E27FC236}">
                <a16:creationId xmlns:a16="http://schemas.microsoft.com/office/drawing/2014/main" xmlns="" id="{48D8A2D3-B443-4986-B1ED-38333861808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e-DE" dirty="0" smtClean="0">
                <a:solidFill>
                  <a:srgbClr val="343434"/>
                </a:solidFill>
              </a:rPr>
              <a:t>English </a:t>
            </a:r>
            <a:r>
              <a:rPr lang="de-DE" dirty="0" smtClean="0">
                <a:solidFill>
                  <a:srgbClr val="343434"/>
                </a:solidFill>
              </a:rPr>
              <a:t>III</a:t>
            </a:r>
            <a:endParaRPr lang="de-DE" dirty="0">
              <a:solidFill>
                <a:srgbClr val="343434"/>
              </a:solidFill>
            </a:endParaRPr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xmlns="" id="{18B4579A-4238-40E2-906C-8E6A9538D842}"/>
              </a:ext>
            </a:extLst>
          </p:cNvPr>
          <p:cNvSpPr txBox="1">
            <a:spLocks/>
          </p:cNvSpPr>
          <p:nvPr/>
        </p:nvSpPr>
        <p:spPr>
          <a:xfrm>
            <a:off x="852784" y="1889341"/>
            <a:ext cx="4883782" cy="330864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IN" sz="2000" b="1" kern="1200" baseline="0" dirty="0">
                <a:solidFill>
                  <a:srgbClr val="002B6A"/>
                </a:solidFill>
                <a:latin typeface="Roboto Cn" pitchFamily="2" charset="0"/>
                <a:ea typeface="Roboto Cn" pitchFamily="2" charset="0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rgbClr val="FFFFFF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+mn-cs"/>
              </a:defRPr>
            </a:lvl2pPr>
            <a:lvl3pPr marL="914400" marR="0" indent="0" algn="ctr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kern="1200">
                <a:solidFill>
                  <a:srgbClr val="FFFFFF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rgbClr val="FFFFFF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rgbClr val="FFFFFF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1800" dirty="0" smtClean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Course content</a:t>
            </a:r>
            <a:endParaRPr lang="en-US" sz="1800" dirty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11" name="Textplatzhalter 5">
            <a:extLst>
              <a:ext uri="{FF2B5EF4-FFF2-40B4-BE49-F238E27FC236}">
                <a16:creationId xmlns:a16="http://schemas.microsoft.com/office/drawing/2014/main" xmlns="" id="{07259BD0-8F46-453D-852A-6EDA7FC8F2F5}"/>
              </a:ext>
            </a:extLst>
          </p:cNvPr>
          <p:cNvSpPr txBox="1">
            <a:spLocks/>
          </p:cNvSpPr>
          <p:nvPr/>
        </p:nvSpPr>
        <p:spPr>
          <a:xfrm>
            <a:off x="821018" y="2363637"/>
            <a:ext cx="4639504" cy="3597215"/>
          </a:xfrm>
          <a:prstGeom prst="rect">
            <a:avLst/>
          </a:prstGeom>
        </p:spPr>
        <p:txBody>
          <a:bodyPr/>
          <a:lstStyle>
            <a:lvl1pPr marL="285750" indent="-285750" algn="ctr" defTabSz="914400" rtl="0" eaLnBrk="1" latinLnBrk="0" hangingPunct="1">
              <a:lnSpc>
                <a:spcPts val="2400"/>
              </a:lnSpc>
              <a:spcBef>
                <a:spcPts val="1000"/>
              </a:spcBef>
              <a:buSzPct val="65000"/>
              <a:buFontTx/>
              <a:buBlip>
                <a:blip r:embed="rId4"/>
              </a:buBlip>
              <a:tabLst>
                <a:tab pos="1704975" algn="l"/>
              </a:tabLst>
              <a:defRPr lang="de-DE" sz="1600" kern="1200" dirty="0" err="1" smtClean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lang="de-DE" sz="1600" kern="1200" dirty="0" smtClean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+mn-cs"/>
              </a:defRPr>
            </a:lvl2pPr>
            <a:lvl3pPr marL="914400" marR="0" indent="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de-DE" sz="1600" kern="1200" dirty="0" smtClean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lang="de-DE" sz="1600" kern="1200" dirty="0" smtClean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lang="de-DE" sz="1600" kern="12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lnSpc>
                <a:spcPct val="150000"/>
              </a:lnSpc>
              <a:spcBef>
                <a:spcPct val="0"/>
              </a:spcBef>
            </a:pPr>
            <a:r>
              <a:rPr lang="de-DE" altLang="de-DE" dirty="0" smtClean="0">
                <a:solidFill>
                  <a:schemeClr val="bg1">
                    <a:lumMod val="50000"/>
                  </a:schemeClr>
                </a:solidFill>
                <a:cs typeface="Roboto Condensed" panose="02000000000000000000" pitchFamily="2" charset="0"/>
              </a:rPr>
              <a:t>- </a:t>
            </a:r>
            <a:r>
              <a:rPr lang="de-DE" altLang="de-DE" sz="1800" b="1" dirty="0" smtClean="0">
                <a:solidFill>
                  <a:schemeClr val="bg1"/>
                </a:solidFill>
                <a:cs typeface="Roboto Condensed" panose="02000000000000000000" pitchFamily="2" charset="0"/>
              </a:rPr>
              <a:t> </a:t>
            </a:r>
            <a:r>
              <a:rPr lang="de-DE" altLang="de-DE" sz="1800" dirty="0" err="1">
                <a:solidFill>
                  <a:schemeClr val="bg1"/>
                </a:solidFill>
                <a:cs typeface="Roboto Condensed" panose="02000000000000000000" pitchFamily="2" charset="0"/>
              </a:rPr>
              <a:t>opening</a:t>
            </a:r>
            <a:r>
              <a:rPr lang="de-DE" altLang="de-DE" sz="1800" dirty="0">
                <a:solidFill>
                  <a:schemeClr val="bg1"/>
                </a:solidFill>
                <a:cs typeface="Roboto Condensed" panose="02000000000000000000" pitchFamily="2" charset="0"/>
              </a:rPr>
              <a:t> </a:t>
            </a:r>
            <a:r>
              <a:rPr lang="de-DE" altLang="de-DE" sz="1800" dirty="0" err="1">
                <a:solidFill>
                  <a:schemeClr val="bg1"/>
                </a:solidFill>
                <a:cs typeface="Roboto Condensed" panose="02000000000000000000" pitchFamily="2" charset="0"/>
              </a:rPr>
              <a:t>and</a:t>
            </a:r>
            <a:r>
              <a:rPr lang="de-DE" altLang="de-DE" sz="1800" dirty="0">
                <a:solidFill>
                  <a:schemeClr val="bg1"/>
                </a:solidFill>
                <a:cs typeface="Roboto Condensed" panose="02000000000000000000" pitchFamily="2" charset="0"/>
              </a:rPr>
              <a:t> </a:t>
            </a:r>
            <a:r>
              <a:rPr lang="de-DE" altLang="de-DE" sz="1800" dirty="0" err="1">
                <a:solidFill>
                  <a:schemeClr val="bg1"/>
                </a:solidFill>
                <a:cs typeface="Roboto Condensed" panose="02000000000000000000" pitchFamily="2" charset="0"/>
              </a:rPr>
              <a:t>closing</a:t>
            </a:r>
            <a:endParaRPr lang="de-DE" altLang="de-DE" sz="1800" dirty="0">
              <a:solidFill>
                <a:schemeClr val="bg1"/>
              </a:solidFill>
              <a:cs typeface="Roboto Condensed" panose="02000000000000000000" pitchFamily="2" charset="0"/>
            </a:endParaRPr>
          </a:p>
          <a:p>
            <a:pPr lvl="1">
              <a:lnSpc>
                <a:spcPct val="150000"/>
              </a:lnSpc>
              <a:spcBef>
                <a:spcPct val="0"/>
              </a:spcBef>
            </a:pPr>
            <a:r>
              <a:rPr lang="de-DE" altLang="de-DE" sz="1800" dirty="0" smtClean="0">
                <a:solidFill>
                  <a:schemeClr val="bg1"/>
                </a:solidFill>
                <a:cs typeface="Roboto Condensed" panose="02000000000000000000" pitchFamily="2" charset="0"/>
              </a:rPr>
              <a:t>- </a:t>
            </a:r>
            <a:r>
              <a:rPr lang="de-DE" altLang="de-DE" sz="1800" dirty="0" err="1" smtClean="0">
                <a:solidFill>
                  <a:schemeClr val="bg1"/>
                </a:solidFill>
                <a:cs typeface="Roboto Condensed" panose="02000000000000000000" pitchFamily="2" charset="0"/>
              </a:rPr>
              <a:t>clear</a:t>
            </a:r>
            <a:r>
              <a:rPr lang="de-DE" altLang="de-DE" sz="1800" dirty="0" smtClean="0">
                <a:solidFill>
                  <a:schemeClr val="bg1"/>
                </a:solidFill>
                <a:cs typeface="Roboto Condensed" panose="02000000000000000000" pitchFamily="2" charset="0"/>
              </a:rPr>
              <a:t> </a:t>
            </a:r>
            <a:r>
              <a:rPr lang="de-DE" altLang="de-DE" sz="1800" dirty="0" err="1">
                <a:solidFill>
                  <a:schemeClr val="bg1"/>
                </a:solidFill>
                <a:cs typeface="Roboto Condensed" panose="02000000000000000000" pitchFamily="2" charset="0"/>
              </a:rPr>
              <a:t>structure</a:t>
            </a:r>
            <a:r>
              <a:rPr lang="de-DE" altLang="de-DE" sz="1800" dirty="0">
                <a:solidFill>
                  <a:schemeClr val="bg1"/>
                </a:solidFill>
                <a:cs typeface="Roboto Condensed" panose="02000000000000000000" pitchFamily="2" charset="0"/>
              </a:rPr>
              <a:t> </a:t>
            </a:r>
            <a:r>
              <a:rPr lang="de-DE" altLang="de-DE" sz="1800" dirty="0" err="1">
                <a:solidFill>
                  <a:schemeClr val="bg1"/>
                </a:solidFill>
                <a:cs typeface="Roboto Condensed" panose="02000000000000000000" pitchFamily="2" charset="0"/>
              </a:rPr>
              <a:t>and</a:t>
            </a:r>
            <a:r>
              <a:rPr lang="de-DE" altLang="de-DE" sz="1800" dirty="0">
                <a:solidFill>
                  <a:schemeClr val="bg1"/>
                </a:solidFill>
                <a:cs typeface="Roboto Condensed" panose="02000000000000000000" pitchFamily="2" charset="0"/>
              </a:rPr>
              <a:t> </a:t>
            </a:r>
            <a:r>
              <a:rPr lang="de-DE" altLang="de-DE" sz="1800" dirty="0" err="1">
                <a:solidFill>
                  <a:schemeClr val="bg1"/>
                </a:solidFill>
                <a:cs typeface="Roboto Condensed" panose="02000000000000000000" pitchFamily="2" charset="0"/>
              </a:rPr>
              <a:t>signposting</a:t>
            </a:r>
            <a:r>
              <a:rPr lang="de-DE" altLang="de-DE" sz="1800" dirty="0">
                <a:solidFill>
                  <a:schemeClr val="bg1"/>
                </a:solidFill>
                <a:cs typeface="Roboto Condensed" panose="02000000000000000000" pitchFamily="2" charset="0"/>
              </a:rPr>
              <a:t> </a:t>
            </a:r>
          </a:p>
          <a:p>
            <a:pPr lvl="1">
              <a:lnSpc>
                <a:spcPct val="150000"/>
              </a:lnSpc>
              <a:spcBef>
                <a:spcPct val="0"/>
              </a:spcBef>
            </a:pPr>
            <a:r>
              <a:rPr lang="de-DE" altLang="de-DE" sz="1800" dirty="0" smtClean="0">
                <a:solidFill>
                  <a:schemeClr val="bg1"/>
                </a:solidFill>
                <a:cs typeface="Roboto Condensed" panose="02000000000000000000" pitchFamily="2" charset="0"/>
              </a:rPr>
              <a:t>- </a:t>
            </a:r>
            <a:r>
              <a:rPr lang="de-DE" altLang="de-DE" sz="1800" dirty="0" err="1" smtClean="0">
                <a:solidFill>
                  <a:schemeClr val="bg1"/>
                </a:solidFill>
                <a:cs typeface="Roboto Condensed" panose="02000000000000000000" pitchFamily="2" charset="0"/>
              </a:rPr>
              <a:t>visual</a:t>
            </a:r>
            <a:r>
              <a:rPr lang="de-DE" altLang="de-DE" sz="1800" dirty="0" smtClean="0">
                <a:solidFill>
                  <a:schemeClr val="bg1"/>
                </a:solidFill>
                <a:cs typeface="Roboto Condensed" panose="02000000000000000000" pitchFamily="2" charset="0"/>
              </a:rPr>
              <a:t> </a:t>
            </a:r>
            <a:r>
              <a:rPr lang="de-DE" altLang="de-DE" sz="1800" dirty="0" err="1">
                <a:solidFill>
                  <a:schemeClr val="bg1"/>
                </a:solidFill>
                <a:cs typeface="Roboto Condensed" panose="02000000000000000000" pitchFamily="2" charset="0"/>
              </a:rPr>
              <a:t>aids</a:t>
            </a:r>
            <a:endParaRPr lang="de-DE" altLang="de-DE" sz="1800" dirty="0">
              <a:solidFill>
                <a:schemeClr val="bg1"/>
              </a:solidFill>
              <a:cs typeface="Roboto Condensed" panose="02000000000000000000" pitchFamily="2" charset="0"/>
            </a:endParaRPr>
          </a:p>
          <a:p>
            <a:pPr lvl="1">
              <a:lnSpc>
                <a:spcPct val="150000"/>
              </a:lnSpc>
              <a:spcBef>
                <a:spcPct val="0"/>
              </a:spcBef>
            </a:pPr>
            <a:r>
              <a:rPr lang="de-DE" altLang="de-DE" sz="1800" dirty="0" smtClean="0">
                <a:solidFill>
                  <a:schemeClr val="bg1"/>
                </a:solidFill>
                <a:cs typeface="Roboto Condensed" panose="02000000000000000000" pitchFamily="2" charset="0"/>
              </a:rPr>
              <a:t>- non-verbal </a:t>
            </a:r>
            <a:r>
              <a:rPr lang="de-DE" altLang="de-DE" sz="1800" dirty="0" err="1" smtClean="0">
                <a:solidFill>
                  <a:schemeClr val="bg1"/>
                </a:solidFill>
                <a:cs typeface="Roboto Condensed" panose="02000000000000000000" pitchFamily="2" charset="0"/>
              </a:rPr>
              <a:t>communication</a:t>
            </a:r>
            <a:endParaRPr lang="de-DE" altLang="de-DE" sz="1800" dirty="0" smtClean="0">
              <a:solidFill>
                <a:schemeClr val="bg1"/>
              </a:solidFill>
              <a:cs typeface="Roboto Condensed" panose="02000000000000000000" pitchFamily="2" charset="0"/>
            </a:endParaRPr>
          </a:p>
          <a:p>
            <a:pPr lvl="1">
              <a:lnSpc>
                <a:spcPct val="150000"/>
              </a:lnSpc>
              <a:spcBef>
                <a:spcPct val="0"/>
              </a:spcBef>
            </a:pPr>
            <a:r>
              <a:rPr lang="de-DE" altLang="de-DE" sz="1800" dirty="0" smtClean="0">
                <a:solidFill>
                  <a:schemeClr val="bg1"/>
                </a:solidFill>
                <a:cs typeface="Roboto Condensed" panose="02000000000000000000" pitchFamily="2" charset="0"/>
              </a:rPr>
              <a:t>- </a:t>
            </a:r>
            <a:r>
              <a:rPr lang="de-DE" altLang="de-DE" sz="1800" dirty="0" err="1" smtClean="0">
                <a:solidFill>
                  <a:schemeClr val="bg1"/>
                </a:solidFill>
                <a:cs typeface="Roboto Condensed" panose="02000000000000000000" pitchFamily="2" charset="0"/>
              </a:rPr>
              <a:t>presenting</a:t>
            </a:r>
            <a:r>
              <a:rPr lang="de-DE" altLang="de-DE" sz="1800" dirty="0" smtClean="0">
                <a:solidFill>
                  <a:schemeClr val="bg1"/>
                </a:solidFill>
                <a:cs typeface="Roboto Condensed" panose="02000000000000000000" pitchFamily="2" charset="0"/>
              </a:rPr>
              <a:t> </a:t>
            </a:r>
            <a:r>
              <a:rPr lang="de-DE" altLang="de-DE" sz="1800" dirty="0" err="1">
                <a:solidFill>
                  <a:schemeClr val="bg1"/>
                </a:solidFill>
                <a:cs typeface="Roboto Condensed" panose="02000000000000000000" pitchFamily="2" charset="0"/>
              </a:rPr>
              <a:t>facts</a:t>
            </a:r>
            <a:r>
              <a:rPr lang="de-DE" altLang="de-DE" sz="1800" dirty="0">
                <a:solidFill>
                  <a:schemeClr val="bg1"/>
                </a:solidFill>
                <a:cs typeface="Roboto Condensed" panose="02000000000000000000" pitchFamily="2" charset="0"/>
              </a:rPr>
              <a:t> </a:t>
            </a:r>
            <a:r>
              <a:rPr lang="de-DE" altLang="de-DE" sz="1800" dirty="0" err="1">
                <a:solidFill>
                  <a:schemeClr val="bg1"/>
                </a:solidFill>
                <a:cs typeface="Roboto Condensed" panose="02000000000000000000" pitchFamily="2" charset="0"/>
              </a:rPr>
              <a:t>and</a:t>
            </a:r>
            <a:r>
              <a:rPr lang="de-DE" altLang="de-DE" sz="1800" dirty="0">
                <a:solidFill>
                  <a:schemeClr val="bg1"/>
                </a:solidFill>
                <a:cs typeface="Roboto Condensed" panose="02000000000000000000" pitchFamily="2" charset="0"/>
              </a:rPr>
              <a:t> </a:t>
            </a:r>
            <a:r>
              <a:rPr lang="de-DE" altLang="de-DE" sz="1800" dirty="0" err="1">
                <a:solidFill>
                  <a:schemeClr val="bg1"/>
                </a:solidFill>
                <a:cs typeface="Roboto Condensed" panose="02000000000000000000" pitchFamily="2" charset="0"/>
              </a:rPr>
              <a:t>figures</a:t>
            </a:r>
            <a:endParaRPr lang="de-DE" altLang="de-DE" sz="1800" dirty="0">
              <a:solidFill>
                <a:schemeClr val="bg1"/>
              </a:solidFill>
              <a:cs typeface="Roboto Condensed" panose="02000000000000000000" pitchFamily="2" charset="0"/>
            </a:endParaRPr>
          </a:p>
          <a:p>
            <a:pPr lvl="1">
              <a:lnSpc>
                <a:spcPct val="150000"/>
              </a:lnSpc>
              <a:spcBef>
                <a:spcPct val="0"/>
              </a:spcBef>
            </a:pPr>
            <a:r>
              <a:rPr lang="de-DE" altLang="de-DE" sz="1800" dirty="0" smtClean="0">
                <a:solidFill>
                  <a:schemeClr val="bg1"/>
                </a:solidFill>
                <a:cs typeface="Roboto Condensed" panose="02000000000000000000" pitchFamily="2" charset="0"/>
              </a:rPr>
              <a:t>- </a:t>
            </a:r>
            <a:r>
              <a:rPr lang="de-DE" altLang="de-DE" sz="1800" dirty="0" err="1" smtClean="0">
                <a:solidFill>
                  <a:schemeClr val="bg1"/>
                </a:solidFill>
                <a:cs typeface="Roboto Condensed" panose="02000000000000000000" pitchFamily="2" charset="0"/>
              </a:rPr>
              <a:t>question</a:t>
            </a:r>
            <a:r>
              <a:rPr lang="de-DE" altLang="de-DE" sz="1800" dirty="0" smtClean="0">
                <a:solidFill>
                  <a:schemeClr val="bg1"/>
                </a:solidFill>
                <a:cs typeface="Roboto Condensed" panose="02000000000000000000" pitchFamily="2" charset="0"/>
              </a:rPr>
              <a:t> </a:t>
            </a:r>
            <a:r>
              <a:rPr lang="de-DE" altLang="de-DE" sz="1800" dirty="0" err="1">
                <a:solidFill>
                  <a:schemeClr val="bg1"/>
                </a:solidFill>
                <a:cs typeface="Roboto Condensed" panose="02000000000000000000" pitchFamily="2" charset="0"/>
              </a:rPr>
              <a:t>and</a:t>
            </a:r>
            <a:r>
              <a:rPr lang="de-DE" altLang="de-DE" sz="1800" dirty="0">
                <a:solidFill>
                  <a:schemeClr val="bg1"/>
                </a:solidFill>
                <a:cs typeface="Roboto Condensed" panose="02000000000000000000" pitchFamily="2" charset="0"/>
              </a:rPr>
              <a:t> </a:t>
            </a:r>
            <a:r>
              <a:rPr lang="de-DE" altLang="de-DE" sz="1800" dirty="0" err="1">
                <a:solidFill>
                  <a:schemeClr val="bg1"/>
                </a:solidFill>
                <a:cs typeface="Roboto Condensed" panose="02000000000000000000" pitchFamily="2" charset="0"/>
              </a:rPr>
              <a:t>answer</a:t>
            </a:r>
            <a:r>
              <a:rPr lang="de-DE" altLang="de-DE" sz="1800" dirty="0">
                <a:solidFill>
                  <a:schemeClr val="bg1"/>
                </a:solidFill>
                <a:cs typeface="Roboto Condensed" panose="02000000000000000000" pitchFamily="2" charset="0"/>
              </a:rPr>
              <a:t> </a:t>
            </a:r>
            <a:r>
              <a:rPr lang="de-DE" altLang="de-DE" sz="1800" dirty="0" err="1">
                <a:solidFill>
                  <a:schemeClr val="bg1"/>
                </a:solidFill>
                <a:cs typeface="Roboto Condensed" panose="02000000000000000000" pitchFamily="2" charset="0"/>
              </a:rPr>
              <a:t>session</a:t>
            </a:r>
            <a:endParaRPr lang="de-DE" altLang="de-DE" sz="1800" dirty="0">
              <a:solidFill>
                <a:schemeClr val="bg1"/>
              </a:solidFill>
              <a:cs typeface="Roboto Condensed" panose="02000000000000000000" pitchFamily="2" charset="0"/>
            </a:endParaRPr>
          </a:p>
          <a:p>
            <a:pPr algn="l">
              <a:lnSpc>
                <a:spcPts val="1800"/>
              </a:lnSpc>
              <a:buFontTx/>
              <a:buChar char="-"/>
            </a:pPr>
            <a:endParaRPr lang="de-DE" dirty="0">
              <a:solidFill>
                <a:schemeClr val="bg1">
                  <a:lumMod val="50000"/>
                </a:schemeClr>
              </a:solidFill>
              <a:cs typeface="Roboto Condensed" panose="02000000000000000000" pitchFamily="2" charset="0"/>
            </a:endParaRPr>
          </a:p>
          <a:p>
            <a:pPr algn="l">
              <a:lnSpc>
                <a:spcPts val="1800"/>
              </a:lnSpc>
              <a:buFontTx/>
              <a:buChar char="-"/>
            </a:pPr>
            <a:endParaRPr lang="de-DE" dirty="0" smtClean="0">
              <a:solidFill>
                <a:schemeClr val="bg1">
                  <a:lumMod val="50000"/>
                </a:schemeClr>
              </a:solidFill>
            </a:endParaRPr>
          </a:p>
          <a:p>
            <a:pPr algn="l">
              <a:lnSpc>
                <a:spcPts val="1800"/>
              </a:lnSpc>
              <a:buFontTx/>
              <a:buChar char="-"/>
            </a:pPr>
            <a:endParaRPr lang="de-DE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14" name="Textplatzhalter 5">
            <a:extLst>
              <a:ext uri="{FF2B5EF4-FFF2-40B4-BE49-F238E27FC236}">
                <a16:creationId xmlns:a16="http://schemas.microsoft.com/office/drawing/2014/main" xmlns="" id="{E483239E-B7FF-4473-BEC7-2F375E16713D}"/>
              </a:ext>
            </a:extLst>
          </p:cNvPr>
          <p:cNvSpPr txBox="1">
            <a:spLocks/>
          </p:cNvSpPr>
          <p:nvPr/>
        </p:nvSpPr>
        <p:spPr>
          <a:xfrm>
            <a:off x="6096000" y="2501342"/>
            <a:ext cx="4830846" cy="2662842"/>
          </a:xfrm>
          <a:prstGeom prst="rect">
            <a:avLst/>
          </a:prstGeom>
        </p:spPr>
        <p:txBody>
          <a:bodyPr/>
          <a:lstStyle>
            <a:lvl1pPr marL="285750" indent="-285750" algn="ctr" defTabSz="914400" rtl="0" eaLnBrk="1" latinLnBrk="0" hangingPunct="1">
              <a:lnSpc>
                <a:spcPts val="2400"/>
              </a:lnSpc>
              <a:spcBef>
                <a:spcPts val="1000"/>
              </a:spcBef>
              <a:buSzPct val="65000"/>
              <a:buFontTx/>
              <a:buBlip>
                <a:blip r:embed="rId4"/>
              </a:buBlip>
              <a:tabLst>
                <a:tab pos="1704975" algn="l"/>
              </a:tabLst>
              <a:defRPr lang="de-DE" sz="1600" kern="1200" dirty="0" err="1" smtClean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lang="de-DE" sz="1600" kern="1200" dirty="0" smtClean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+mn-cs"/>
              </a:defRPr>
            </a:lvl2pPr>
            <a:lvl3pPr marL="914400" marR="0" indent="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de-DE" sz="1600" kern="1200" dirty="0" smtClean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lang="de-DE" sz="1600" kern="1200" dirty="0" smtClean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lang="de-DE" sz="1600" kern="12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ts val="1800"/>
              </a:lnSpc>
            </a:pPr>
            <a:endParaRPr lang="de-DE" dirty="0">
              <a:solidFill>
                <a:srgbClr val="343434"/>
              </a:solidFill>
            </a:endParaRPr>
          </a:p>
        </p:txBody>
      </p:sp>
      <p:pic>
        <p:nvPicPr>
          <p:cNvPr id="2" name="Audio 1">
            <a:hlinkClick r:id="" action="ppaction://media"/>
          </p:cNvPr>
          <p:cNvPicPr>
            <a:picLocks noChangeAspect="1"/>
          </p:cNvPicPr>
          <p:nvPr>
            <a:audi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5"/>
          <a:stretch>
            <a:fillRect/>
          </a:stretch>
        </p:blipFill>
        <p:spPr>
          <a:xfrm>
            <a:off x="11488738" y="6154738"/>
            <a:ext cx="487362" cy="4873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902693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44365"/>
    </mc:Choice>
    <mc:Fallback xmlns="">
      <p:transition spd="slow" advTm="44365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 isNarration="1">
              <p:cMediaNode vol="80000" showWhenStopped="0">
                <p:cTn id="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2"/>
                </p:tgtEl>
              </p:cMediaNode>
            </p:audio>
          </p:childTnLst>
        </p:cTn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 8">
            <a:extLst>
              <a:ext uri="{FF2B5EF4-FFF2-40B4-BE49-F238E27FC236}">
                <a16:creationId xmlns:a16="http://schemas.microsoft.com/office/drawing/2014/main" xmlns="" id="{48D8A2D3-B443-4986-B1ED-38333861808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e-DE" dirty="0" smtClean="0">
                <a:solidFill>
                  <a:srgbClr val="343434"/>
                </a:solidFill>
              </a:rPr>
              <a:t>English </a:t>
            </a:r>
            <a:r>
              <a:rPr lang="de-DE" dirty="0" smtClean="0">
                <a:solidFill>
                  <a:srgbClr val="343434"/>
                </a:solidFill>
              </a:rPr>
              <a:t>III</a:t>
            </a:r>
            <a:endParaRPr lang="de-DE" dirty="0">
              <a:solidFill>
                <a:srgbClr val="343434"/>
              </a:solidFill>
            </a:endParaRPr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xmlns="" id="{18B4579A-4238-40E2-906C-8E6A9538D842}"/>
              </a:ext>
            </a:extLst>
          </p:cNvPr>
          <p:cNvSpPr txBox="1">
            <a:spLocks/>
          </p:cNvSpPr>
          <p:nvPr/>
        </p:nvSpPr>
        <p:spPr>
          <a:xfrm>
            <a:off x="852784" y="1889341"/>
            <a:ext cx="4883782" cy="330864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IN" sz="2000" b="1" kern="1200" baseline="0" dirty="0">
                <a:solidFill>
                  <a:srgbClr val="002B6A"/>
                </a:solidFill>
                <a:latin typeface="Roboto Cn" pitchFamily="2" charset="0"/>
                <a:ea typeface="Roboto Cn" pitchFamily="2" charset="0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rgbClr val="FFFFFF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+mn-cs"/>
              </a:defRPr>
            </a:lvl2pPr>
            <a:lvl3pPr marL="914400" marR="0" indent="0" algn="ctr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kern="1200">
                <a:solidFill>
                  <a:srgbClr val="FFFFFF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rgbClr val="FFFFFF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rgbClr val="FFFFFF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1800" dirty="0" smtClean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Course content</a:t>
            </a:r>
            <a:endParaRPr lang="en-US" sz="1800" dirty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11" name="Textplatzhalter 5">
            <a:extLst>
              <a:ext uri="{FF2B5EF4-FFF2-40B4-BE49-F238E27FC236}">
                <a16:creationId xmlns:a16="http://schemas.microsoft.com/office/drawing/2014/main" xmlns="" id="{07259BD0-8F46-453D-852A-6EDA7FC8F2F5}"/>
              </a:ext>
            </a:extLst>
          </p:cNvPr>
          <p:cNvSpPr txBox="1">
            <a:spLocks/>
          </p:cNvSpPr>
          <p:nvPr/>
        </p:nvSpPr>
        <p:spPr>
          <a:xfrm>
            <a:off x="821018" y="2363637"/>
            <a:ext cx="4639504" cy="3597215"/>
          </a:xfrm>
          <a:prstGeom prst="rect">
            <a:avLst/>
          </a:prstGeom>
        </p:spPr>
        <p:txBody>
          <a:bodyPr/>
          <a:lstStyle>
            <a:lvl1pPr marL="285750" indent="-285750" algn="ctr" defTabSz="914400" rtl="0" eaLnBrk="1" latinLnBrk="0" hangingPunct="1">
              <a:lnSpc>
                <a:spcPts val="2400"/>
              </a:lnSpc>
              <a:spcBef>
                <a:spcPts val="1000"/>
              </a:spcBef>
              <a:buSzPct val="65000"/>
              <a:buFontTx/>
              <a:buBlip>
                <a:blip r:embed="rId4"/>
              </a:buBlip>
              <a:tabLst>
                <a:tab pos="1704975" algn="l"/>
              </a:tabLst>
              <a:defRPr lang="de-DE" sz="1600" kern="1200" dirty="0" err="1" smtClean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lang="de-DE" sz="1600" kern="1200" dirty="0" smtClean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+mn-cs"/>
              </a:defRPr>
            </a:lvl2pPr>
            <a:lvl3pPr marL="914400" marR="0" indent="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de-DE" sz="1600" kern="1200" dirty="0" smtClean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lang="de-DE" sz="1600" kern="1200" dirty="0" smtClean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lang="de-DE" sz="1600" kern="12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lnSpc>
                <a:spcPct val="150000"/>
              </a:lnSpc>
              <a:spcBef>
                <a:spcPct val="0"/>
              </a:spcBef>
            </a:pPr>
            <a:r>
              <a:rPr lang="de-DE" altLang="de-DE" dirty="0" smtClean="0">
                <a:solidFill>
                  <a:schemeClr val="bg1">
                    <a:lumMod val="50000"/>
                  </a:schemeClr>
                </a:solidFill>
                <a:cs typeface="Roboto Condensed" panose="02000000000000000000" pitchFamily="2" charset="0"/>
              </a:rPr>
              <a:t>- </a:t>
            </a:r>
            <a:r>
              <a:rPr lang="de-DE" altLang="de-DE" sz="1800" b="1" dirty="0" smtClean="0">
                <a:solidFill>
                  <a:schemeClr val="bg1"/>
                </a:solidFill>
                <a:cs typeface="Roboto Condensed" panose="02000000000000000000" pitchFamily="2" charset="0"/>
              </a:rPr>
              <a:t> </a:t>
            </a:r>
            <a:r>
              <a:rPr lang="de-DE" altLang="de-DE" sz="1800" dirty="0" err="1">
                <a:solidFill>
                  <a:schemeClr val="bg1"/>
                </a:solidFill>
                <a:cs typeface="Roboto Condensed" panose="02000000000000000000" pitchFamily="2" charset="0"/>
              </a:rPr>
              <a:t>opening</a:t>
            </a:r>
            <a:r>
              <a:rPr lang="de-DE" altLang="de-DE" sz="1800" dirty="0">
                <a:solidFill>
                  <a:schemeClr val="bg1"/>
                </a:solidFill>
                <a:cs typeface="Roboto Condensed" panose="02000000000000000000" pitchFamily="2" charset="0"/>
              </a:rPr>
              <a:t> </a:t>
            </a:r>
            <a:r>
              <a:rPr lang="de-DE" altLang="de-DE" sz="1800" dirty="0" err="1">
                <a:solidFill>
                  <a:schemeClr val="bg1"/>
                </a:solidFill>
                <a:cs typeface="Roboto Condensed" panose="02000000000000000000" pitchFamily="2" charset="0"/>
              </a:rPr>
              <a:t>and</a:t>
            </a:r>
            <a:r>
              <a:rPr lang="de-DE" altLang="de-DE" sz="1800" dirty="0">
                <a:solidFill>
                  <a:schemeClr val="bg1"/>
                </a:solidFill>
                <a:cs typeface="Roboto Condensed" panose="02000000000000000000" pitchFamily="2" charset="0"/>
              </a:rPr>
              <a:t> </a:t>
            </a:r>
            <a:r>
              <a:rPr lang="de-DE" altLang="de-DE" sz="1800" dirty="0" err="1">
                <a:solidFill>
                  <a:schemeClr val="bg1"/>
                </a:solidFill>
                <a:cs typeface="Roboto Condensed" panose="02000000000000000000" pitchFamily="2" charset="0"/>
              </a:rPr>
              <a:t>closing</a:t>
            </a:r>
            <a:endParaRPr lang="de-DE" altLang="de-DE" sz="1800" dirty="0">
              <a:solidFill>
                <a:schemeClr val="bg1"/>
              </a:solidFill>
              <a:cs typeface="Roboto Condensed" panose="02000000000000000000" pitchFamily="2" charset="0"/>
            </a:endParaRPr>
          </a:p>
          <a:p>
            <a:pPr lvl="1">
              <a:lnSpc>
                <a:spcPct val="150000"/>
              </a:lnSpc>
              <a:spcBef>
                <a:spcPct val="0"/>
              </a:spcBef>
            </a:pPr>
            <a:r>
              <a:rPr lang="de-DE" altLang="de-DE" sz="1800" dirty="0" smtClean="0">
                <a:solidFill>
                  <a:schemeClr val="bg1"/>
                </a:solidFill>
                <a:cs typeface="Roboto Condensed" panose="02000000000000000000" pitchFamily="2" charset="0"/>
              </a:rPr>
              <a:t>- </a:t>
            </a:r>
            <a:r>
              <a:rPr lang="de-DE" altLang="de-DE" sz="1800" dirty="0" err="1" smtClean="0">
                <a:solidFill>
                  <a:schemeClr val="bg1"/>
                </a:solidFill>
                <a:cs typeface="Roboto Condensed" panose="02000000000000000000" pitchFamily="2" charset="0"/>
              </a:rPr>
              <a:t>clear</a:t>
            </a:r>
            <a:r>
              <a:rPr lang="de-DE" altLang="de-DE" sz="1800" dirty="0" smtClean="0">
                <a:solidFill>
                  <a:schemeClr val="bg1"/>
                </a:solidFill>
                <a:cs typeface="Roboto Condensed" panose="02000000000000000000" pitchFamily="2" charset="0"/>
              </a:rPr>
              <a:t> </a:t>
            </a:r>
            <a:r>
              <a:rPr lang="de-DE" altLang="de-DE" sz="1800" dirty="0" err="1">
                <a:solidFill>
                  <a:schemeClr val="bg1"/>
                </a:solidFill>
                <a:cs typeface="Roboto Condensed" panose="02000000000000000000" pitchFamily="2" charset="0"/>
              </a:rPr>
              <a:t>structure</a:t>
            </a:r>
            <a:r>
              <a:rPr lang="de-DE" altLang="de-DE" sz="1800" dirty="0">
                <a:solidFill>
                  <a:schemeClr val="bg1"/>
                </a:solidFill>
                <a:cs typeface="Roboto Condensed" panose="02000000000000000000" pitchFamily="2" charset="0"/>
              </a:rPr>
              <a:t> </a:t>
            </a:r>
            <a:r>
              <a:rPr lang="de-DE" altLang="de-DE" sz="1800" dirty="0" err="1">
                <a:solidFill>
                  <a:schemeClr val="bg1"/>
                </a:solidFill>
                <a:cs typeface="Roboto Condensed" panose="02000000000000000000" pitchFamily="2" charset="0"/>
              </a:rPr>
              <a:t>and</a:t>
            </a:r>
            <a:r>
              <a:rPr lang="de-DE" altLang="de-DE" sz="1800" dirty="0">
                <a:solidFill>
                  <a:schemeClr val="bg1"/>
                </a:solidFill>
                <a:cs typeface="Roboto Condensed" panose="02000000000000000000" pitchFamily="2" charset="0"/>
              </a:rPr>
              <a:t> </a:t>
            </a:r>
            <a:r>
              <a:rPr lang="de-DE" altLang="de-DE" sz="1800" dirty="0" err="1">
                <a:solidFill>
                  <a:schemeClr val="bg1"/>
                </a:solidFill>
                <a:cs typeface="Roboto Condensed" panose="02000000000000000000" pitchFamily="2" charset="0"/>
              </a:rPr>
              <a:t>signposting</a:t>
            </a:r>
            <a:r>
              <a:rPr lang="de-DE" altLang="de-DE" sz="1800" dirty="0">
                <a:solidFill>
                  <a:schemeClr val="bg1"/>
                </a:solidFill>
                <a:cs typeface="Roboto Condensed" panose="02000000000000000000" pitchFamily="2" charset="0"/>
              </a:rPr>
              <a:t> </a:t>
            </a:r>
          </a:p>
          <a:p>
            <a:pPr lvl="1">
              <a:lnSpc>
                <a:spcPct val="150000"/>
              </a:lnSpc>
              <a:spcBef>
                <a:spcPct val="0"/>
              </a:spcBef>
            </a:pPr>
            <a:r>
              <a:rPr lang="de-DE" altLang="de-DE" sz="1800" dirty="0" smtClean="0">
                <a:solidFill>
                  <a:schemeClr val="bg1"/>
                </a:solidFill>
                <a:cs typeface="Roboto Condensed" panose="02000000000000000000" pitchFamily="2" charset="0"/>
              </a:rPr>
              <a:t>- </a:t>
            </a:r>
            <a:r>
              <a:rPr lang="de-DE" altLang="de-DE" sz="1800" dirty="0" err="1" smtClean="0">
                <a:solidFill>
                  <a:schemeClr val="bg1"/>
                </a:solidFill>
                <a:cs typeface="Roboto Condensed" panose="02000000000000000000" pitchFamily="2" charset="0"/>
              </a:rPr>
              <a:t>visual</a:t>
            </a:r>
            <a:r>
              <a:rPr lang="de-DE" altLang="de-DE" sz="1800" dirty="0" smtClean="0">
                <a:solidFill>
                  <a:schemeClr val="bg1"/>
                </a:solidFill>
                <a:cs typeface="Roboto Condensed" panose="02000000000000000000" pitchFamily="2" charset="0"/>
              </a:rPr>
              <a:t> </a:t>
            </a:r>
            <a:r>
              <a:rPr lang="de-DE" altLang="de-DE" sz="1800" dirty="0" err="1">
                <a:solidFill>
                  <a:schemeClr val="bg1"/>
                </a:solidFill>
                <a:cs typeface="Roboto Condensed" panose="02000000000000000000" pitchFamily="2" charset="0"/>
              </a:rPr>
              <a:t>aids</a:t>
            </a:r>
            <a:endParaRPr lang="de-DE" altLang="de-DE" sz="1800" dirty="0">
              <a:solidFill>
                <a:schemeClr val="bg1"/>
              </a:solidFill>
              <a:cs typeface="Roboto Condensed" panose="02000000000000000000" pitchFamily="2" charset="0"/>
            </a:endParaRPr>
          </a:p>
          <a:p>
            <a:pPr lvl="1">
              <a:lnSpc>
                <a:spcPct val="150000"/>
              </a:lnSpc>
              <a:spcBef>
                <a:spcPct val="0"/>
              </a:spcBef>
            </a:pPr>
            <a:r>
              <a:rPr lang="de-DE" altLang="de-DE" sz="1800" dirty="0" smtClean="0">
                <a:solidFill>
                  <a:schemeClr val="bg1"/>
                </a:solidFill>
                <a:cs typeface="Roboto Condensed" panose="02000000000000000000" pitchFamily="2" charset="0"/>
              </a:rPr>
              <a:t>- non-verbal </a:t>
            </a:r>
            <a:r>
              <a:rPr lang="de-DE" altLang="de-DE" sz="1800" dirty="0" err="1" smtClean="0">
                <a:solidFill>
                  <a:schemeClr val="bg1"/>
                </a:solidFill>
                <a:cs typeface="Roboto Condensed" panose="02000000000000000000" pitchFamily="2" charset="0"/>
              </a:rPr>
              <a:t>communication</a:t>
            </a:r>
            <a:endParaRPr lang="de-DE" altLang="de-DE" sz="1800" dirty="0" smtClean="0">
              <a:solidFill>
                <a:schemeClr val="bg1"/>
              </a:solidFill>
              <a:cs typeface="Roboto Condensed" panose="02000000000000000000" pitchFamily="2" charset="0"/>
            </a:endParaRPr>
          </a:p>
          <a:p>
            <a:pPr lvl="1">
              <a:lnSpc>
                <a:spcPct val="150000"/>
              </a:lnSpc>
              <a:spcBef>
                <a:spcPct val="0"/>
              </a:spcBef>
            </a:pPr>
            <a:r>
              <a:rPr lang="de-DE" altLang="de-DE" sz="1800" dirty="0" smtClean="0">
                <a:solidFill>
                  <a:schemeClr val="bg1"/>
                </a:solidFill>
                <a:cs typeface="Roboto Condensed" panose="02000000000000000000" pitchFamily="2" charset="0"/>
              </a:rPr>
              <a:t>- </a:t>
            </a:r>
            <a:r>
              <a:rPr lang="de-DE" altLang="de-DE" sz="1800" dirty="0" err="1" smtClean="0">
                <a:solidFill>
                  <a:schemeClr val="bg1"/>
                </a:solidFill>
                <a:cs typeface="Roboto Condensed" panose="02000000000000000000" pitchFamily="2" charset="0"/>
              </a:rPr>
              <a:t>presenting</a:t>
            </a:r>
            <a:r>
              <a:rPr lang="de-DE" altLang="de-DE" sz="1800" dirty="0" smtClean="0">
                <a:solidFill>
                  <a:schemeClr val="bg1"/>
                </a:solidFill>
                <a:cs typeface="Roboto Condensed" panose="02000000000000000000" pitchFamily="2" charset="0"/>
              </a:rPr>
              <a:t> </a:t>
            </a:r>
            <a:r>
              <a:rPr lang="de-DE" altLang="de-DE" sz="1800" dirty="0" err="1">
                <a:solidFill>
                  <a:schemeClr val="bg1"/>
                </a:solidFill>
                <a:cs typeface="Roboto Condensed" panose="02000000000000000000" pitchFamily="2" charset="0"/>
              </a:rPr>
              <a:t>facts</a:t>
            </a:r>
            <a:r>
              <a:rPr lang="de-DE" altLang="de-DE" sz="1800" dirty="0">
                <a:solidFill>
                  <a:schemeClr val="bg1"/>
                </a:solidFill>
                <a:cs typeface="Roboto Condensed" panose="02000000000000000000" pitchFamily="2" charset="0"/>
              </a:rPr>
              <a:t> </a:t>
            </a:r>
            <a:r>
              <a:rPr lang="de-DE" altLang="de-DE" sz="1800" dirty="0" err="1">
                <a:solidFill>
                  <a:schemeClr val="bg1"/>
                </a:solidFill>
                <a:cs typeface="Roboto Condensed" panose="02000000000000000000" pitchFamily="2" charset="0"/>
              </a:rPr>
              <a:t>and</a:t>
            </a:r>
            <a:r>
              <a:rPr lang="de-DE" altLang="de-DE" sz="1800" dirty="0">
                <a:solidFill>
                  <a:schemeClr val="bg1"/>
                </a:solidFill>
                <a:cs typeface="Roboto Condensed" panose="02000000000000000000" pitchFamily="2" charset="0"/>
              </a:rPr>
              <a:t> </a:t>
            </a:r>
            <a:r>
              <a:rPr lang="de-DE" altLang="de-DE" sz="1800" dirty="0" err="1">
                <a:solidFill>
                  <a:schemeClr val="bg1"/>
                </a:solidFill>
                <a:cs typeface="Roboto Condensed" panose="02000000000000000000" pitchFamily="2" charset="0"/>
              </a:rPr>
              <a:t>figures</a:t>
            </a:r>
            <a:endParaRPr lang="de-DE" altLang="de-DE" sz="1800" dirty="0">
              <a:solidFill>
                <a:schemeClr val="bg1"/>
              </a:solidFill>
              <a:cs typeface="Roboto Condensed" panose="02000000000000000000" pitchFamily="2" charset="0"/>
            </a:endParaRPr>
          </a:p>
          <a:p>
            <a:pPr lvl="1">
              <a:lnSpc>
                <a:spcPct val="150000"/>
              </a:lnSpc>
              <a:spcBef>
                <a:spcPct val="0"/>
              </a:spcBef>
            </a:pPr>
            <a:r>
              <a:rPr lang="de-DE" altLang="de-DE" sz="1800" dirty="0" smtClean="0">
                <a:solidFill>
                  <a:schemeClr val="bg1"/>
                </a:solidFill>
                <a:cs typeface="Roboto Condensed" panose="02000000000000000000" pitchFamily="2" charset="0"/>
              </a:rPr>
              <a:t>- </a:t>
            </a:r>
            <a:r>
              <a:rPr lang="de-DE" altLang="de-DE" sz="1800" dirty="0" err="1" smtClean="0">
                <a:solidFill>
                  <a:schemeClr val="bg1"/>
                </a:solidFill>
                <a:cs typeface="Roboto Condensed" panose="02000000000000000000" pitchFamily="2" charset="0"/>
              </a:rPr>
              <a:t>question</a:t>
            </a:r>
            <a:r>
              <a:rPr lang="de-DE" altLang="de-DE" sz="1800" dirty="0" smtClean="0">
                <a:solidFill>
                  <a:schemeClr val="bg1"/>
                </a:solidFill>
                <a:cs typeface="Roboto Condensed" panose="02000000000000000000" pitchFamily="2" charset="0"/>
              </a:rPr>
              <a:t> </a:t>
            </a:r>
            <a:r>
              <a:rPr lang="de-DE" altLang="de-DE" sz="1800" dirty="0" err="1">
                <a:solidFill>
                  <a:schemeClr val="bg1"/>
                </a:solidFill>
                <a:cs typeface="Roboto Condensed" panose="02000000000000000000" pitchFamily="2" charset="0"/>
              </a:rPr>
              <a:t>and</a:t>
            </a:r>
            <a:r>
              <a:rPr lang="de-DE" altLang="de-DE" sz="1800" dirty="0">
                <a:solidFill>
                  <a:schemeClr val="bg1"/>
                </a:solidFill>
                <a:cs typeface="Roboto Condensed" panose="02000000000000000000" pitchFamily="2" charset="0"/>
              </a:rPr>
              <a:t> </a:t>
            </a:r>
            <a:r>
              <a:rPr lang="de-DE" altLang="de-DE" sz="1800" dirty="0" err="1">
                <a:solidFill>
                  <a:schemeClr val="bg1"/>
                </a:solidFill>
                <a:cs typeface="Roboto Condensed" panose="02000000000000000000" pitchFamily="2" charset="0"/>
              </a:rPr>
              <a:t>answer</a:t>
            </a:r>
            <a:r>
              <a:rPr lang="de-DE" altLang="de-DE" sz="1800" dirty="0">
                <a:solidFill>
                  <a:schemeClr val="bg1"/>
                </a:solidFill>
                <a:cs typeface="Roboto Condensed" panose="02000000000000000000" pitchFamily="2" charset="0"/>
              </a:rPr>
              <a:t> </a:t>
            </a:r>
            <a:r>
              <a:rPr lang="de-DE" altLang="de-DE" sz="1800" dirty="0" err="1">
                <a:solidFill>
                  <a:schemeClr val="bg1"/>
                </a:solidFill>
                <a:cs typeface="Roboto Condensed" panose="02000000000000000000" pitchFamily="2" charset="0"/>
              </a:rPr>
              <a:t>session</a:t>
            </a:r>
            <a:endParaRPr lang="de-DE" altLang="de-DE" sz="1800" dirty="0">
              <a:solidFill>
                <a:schemeClr val="bg1"/>
              </a:solidFill>
              <a:cs typeface="Roboto Condensed" panose="02000000000000000000" pitchFamily="2" charset="0"/>
            </a:endParaRPr>
          </a:p>
          <a:p>
            <a:pPr algn="l">
              <a:lnSpc>
                <a:spcPts val="1800"/>
              </a:lnSpc>
              <a:buFontTx/>
              <a:buChar char="-"/>
            </a:pPr>
            <a:endParaRPr lang="de-DE" dirty="0">
              <a:solidFill>
                <a:schemeClr val="bg1">
                  <a:lumMod val="50000"/>
                </a:schemeClr>
              </a:solidFill>
            </a:endParaRPr>
          </a:p>
          <a:p>
            <a:pPr algn="l">
              <a:lnSpc>
                <a:spcPts val="1800"/>
              </a:lnSpc>
              <a:buFontTx/>
              <a:buChar char="-"/>
            </a:pPr>
            <a:endParaRPr lang="de-DE" dirty="0" smtClean="0">
              <a:solidFill>
                <a:schemeClr val="bg1">
                  <a:lumMod val="50000"/>
                </a:schemeClr>
              </a:solidFill>
            </a:endParaRPr>
          </a:p>
          <a:p>
            <a:pPr algn="l">
              <a:lnSpc>
                <a:spcPts val="1800"/>
              </a:lnSpc>
              <a:buFontTx/>
              <a:buChar char="-"/>
            </a:pPr>
            <a:endParaRPr lang="de-DE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14" name="Textplatzhalter 5">
            <a:extLst>
              <a:ext uri="{FF2B5EF4-FFF2-40B4-BE49-F238E27FC236}">
                <a16:creationId xmlns:a16="http://schemas.microsoft.com/office/drawing/2014/main" xmlns="" id="{E483239E-B7FF-4473-BEC7-2F375E16713D}"/>
              </a:ext>
            </a:extLst>
          </p:cNvPr>
          <p:cNvSpPr txBox="1">
            <a:spLocks/>
          </p:cNvSpPr>
          <p:nvPr/>
        </p:nvSpPr>
        <p:spPr>
          <a:xfrm>
            <a:off x="6096000" y="2501342"/>
            <a:ext cx="4830846" cy="2662842"/>
          </a:xfrm>
          <a:prstGeom prst="rect">
            <a:avLst/>
          </a:prstGeom>
        </p:spPr>
        <p:txBody>
          <a:bodyPr/>
          <a:lstStyle>
            <a:lvl1pPr marL="285750" indent="-285750" algn="ctr" defTabSz="914400" rtl="0" eaLnBrk="1" latinLnBrk="0" hangingPunct="1">
              <a:lnSpc>
                <a:spcPts val="2400"/>
              </a:lnSpc>
              <a:spcBef>
                <a:spcPts val="1000"/>
              </a:spcBef>
              <a:buSzPct val="65000"/>
              <a:buFontTx/>
              <a:buBlip>
                <a:blip r:embed="rId4"/>
              </a:buBlip>
              <a:tabLst>
                <a:tab pos="1704975" algn="l"/>
              </a:tabLst>
              <a:defRPr lang="de-DE" sz="1600" kern="1200" dirty="0" err="1" smtClean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lang="de-DE" sz="1600" kern="1200" dirty="0" smtClean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+mn-cs"/>
              </a:defRPr>
            </a:lvl2pPr>
            <a:lvl3pPr marL="914400" marR="0" indent="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de-DE" sz="1600" kern="1200" dirty="0" smtClean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lang="de-DE" sz="1600" kern="1200" dirty="0" smtClean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lang="de-DE" sz="1600" kern="12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ts val="1800"/>
              </a:lnSpc>
            </a:pPr>
            <a:endParaRPr lang="de-DE" dirty="0">
              <a:solidFill>
                <a:srgbClr val="343434"/>
              </a:solidFill>
            </a:endParaRPr>
          </a:p>
        </p:txBody>
      </p:sp>
      <p:sp>
        <p:nvSpPr>
          <p:cNvPr id="2" name="Textfeld 1"/>
          <p:cNvSpPr txBox="1"/>
          <p:nvPr/>
        </p:nvSpPr>
        <p:spPr>
          <a:xfrm>
            <a:off x="5328275" y="2132010"/>
            <a:ext cx="3183148" cy="369332"/>
          </a:xfrm>
          <a:prstGeom prst="rect">
            <a:avLst/>
          </a:prstGeom>
          <a:solidFill>
            <a:srgbClr val="FFFF00"/>
          </a:solidFill>
        </p:spPr>
        <p:txBody>
          <a:bodyPr wrap="square" rtlCol="0">
            <a:spAutoFit/>
          </a:bodyPr>
          <a:lstStyle/>
          <a:p>
            <a:r>
              <a:rPr lang="de-DE" dirty="0" err="1" smtClean="0">
                <a:solidFill>
                  <a:schemeClr val="bg1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Roboto Condensed" panose="02000000000000000000" pitchFamily="2" charset="0"/>
              </a:rPr>
              <a:t>always</a:t>
            </a:r>
            <a:r>
              <a:rPr lang="de-DE" dirty="0" smtClean="0">
                <a:solidFill>
                  <a:schemeClr val="bg1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Roboto Condensed" panose="02000000000000000000" pitchFamily="2" charset="0"/>
              </a:rPr>
              <a:t> in a </a:t>
            </a:r>
            <a:r>
              <a:rPr lang="de-DE" dirty="0" err="1" smtClean="0">
                <a:solidFill>
                  <a:schemeClr val="bg1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Roboto Condensed" panose="02000000000000000000" pitchFamily="2" charset="0"/>
              </a:rPr>
              <a:t>technical</a:t>
            </a:r>
            <a:r>
              <a:rPr lang="de-DE" dirty="0" smtClean="0">
                <a:solidFill>
                  <a:schemeClr val="bg1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Roboto Condensed" panose="02000000000000000000" pitchFamily="2" charset="0"/>
              </a:rPr>
              <a:t> </a:t>
            </a:r>
            <a:r>
              <a:rPr lang="de-DE" dirty="0" err="1" smtClean="0">
                <a:solidFill>
                  <a:schemeClr val="bg1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Roboto Condensed" panose="02000000000000000000" pitchFamily="2" charset="0"/>
              </a:rPr>
              <a:t>context</a:t>
            </a:r>
            <a:endParaRPr lang="de-DE" dirty="0">
              <a:solidFill>
                <a:schemeClr val="bg1"/>
              </a:solidFill>
              <a:latin typeface="Roboto Condensed" panose="02000000000000000000" pitchFamily="2" charset="0"/>
              <a:ea typeface="Roboto Condensed" panose="02000000000000000000" pitchFamily="2" charset="0"/>
              <a:cs typeface="Roboto Condensed" panose="02000000000000000000" pitchFamily="2" charset="0"/>
            </a:endParaRPr>
          </a:p>
        </p:txBody>
      </p:sp>
      <p:pic>
        <p:nvPicPr>
          <p:cNvPr id="4" name="Audio 3">
            <a:hlinkClick r:id="" action="ppaction://media"/>
          </p:cNvPr>
          <p:cNvPicPr>
            <a:picLocks noChangeAspect="1"/>
          </p:cNvPicPr>
          <p:nvPr>
            <a:audi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5"/>
          <a:stretch>
            <a:fillRect/>
          </a:stretch>
        </p:blipFill>
        <p:spPr>
          <a:xfrm>
            <a:off x="11488738" y="6154738"/>
            <a:ext cx="487362" cy="4873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645794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13433"/>
    </mc:Choice>
    <mc:Fallback xmlns="">
      <p:transition spd="slow" advTm="13433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 isNarration="1">
              <p:cMediaNode vol="80000" showWhenStopped="0">
                <p:cTn id="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4"/>
                </p:tgtEl>
              </p:cMediaNode>
            </p:audio>
          </p:childTnLst>
        </p:cTn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 8">
            <a:extLst>
              <a:ext uri="{FF2B5EF4-FFF2-40B4-BE49-F238E27FC236}">
                <a16:creationId xmlns:a16="http://schemas.microsoft.com/office/drawing/2014/main" xmlns="" id="{48D8A2D3-B443-4986-B1ED-38333861808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e-DE" dirty="0" smtClean="0">
                <a:solidFill>
                  <a:srgbClr val="343434"/>
                </a:solidFill>
              </a:rPr>
              <a:t>English </a:t>
            </a:r>
            <a:r>
              <a:rPr lang="de-DE" dirty="0" smtClean="0">
                <a:solidFill>
                  <a:srgbClr val="343434"/>
                </a:solidFill>
              </a:rPr>
              <a:t>III</a:t>
            </a:r>
            <a:endParaRPr lang="de-DE" dirty="0">
              <a:solidFill>
                <a:srgbClr val="343434"/>
              </a:solidFill>
            </a:endParaRPr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xmlns="" id="{18B4579A-4238-40E2-906C-8E6A9538D842}"/>
              </a:ext>
            </a:extLst>
          </p:cNvPr>
          <p:cNvSpPr txBox="1">
            <a:spLocks/>
          </p:cNvSpPr>
          <p:nvPr/>
        </p:nvSpPr>
        <p:spPr>
          <a:xfrm>
            <a:off x="852784" y="1889341"/>
            <a:ext cx="4883782" cy="330864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IN" sz="2000" b="1" kern="1200" baseline="0" dirty="0">
                <a:solidFill>
                  <a:srgbClr val="002B6A"/>
                </a:solidFill>
                <a:latin typeface="Roboto Cn" pitchFamily="2" charset="0"/>
                <a:ea typeface="Roboto Cn" pitchFamily="2" charset="0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rgbClr val="FFFFFF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+mn-cs"/>
              </a:defRPr>
            </a:lvl2pPr>
            <a:lvl3pPr marL="914400" marR="0" indent="0" algn="ctr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kern="1200">
                <a:solidFill>
                  <a:srgbClr val="FFFFFF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rgbClr val="FFFFFF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rgbClr val="FFFFFF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1800" dirty="0" smtClean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Course content</a:t>
            </a:r>
            <a:endParaRPr lang="en-US" sz="1800" dirty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11" name="Textplatzhalter 5">
            <a:extLst>
              <a:ext uri="{FF2B5EF4-FFF2-40B4-BE49-F238E27FC236}">
                <a16:creationId xmlns:a16="http://schemas.microsoft.com/office/drawing/2014/main" xmlns="" id="{07259BD0-8F46-453D-852A-6EDA7FC8F2F5}"/>
              </a:ext>
            </a:extLst>
          </p:cNvPr>
          <p:cNvSpPr txBox="1">
            <a:spLocks/>
          </p:cNvSpPr>
          <p:nvPr/>
        </p:nvSpPr>
        <p:spPr>
          <a:xfrm>
            <a:off x="821018" y="2363637"/>
            <a:ext cx="4639504" cy="3597215"/>
          </a:xfrm>
          <a:prstGeom prst="rect">
            <a:avLst/>
          </a:prstGeom>
        </p:spPr>
        <p:txBody>
          <a:bodyPr/>
          <a:lstStyle>
            <a:lvl1pPr marL="285750" indent="-285750" algn="ctr" defTabSz="914400" rtl="0" eaLnBrk="1" latinLnBrk="0" hangingPunct="1">
              <a:lnSpc>
                <a:spcPts val="2400"/>
              </a:lnSpc>
              <a:spcBef>
                <a:spcPts val="1000"/>
              </a:spcBef>
              <a:buSzPct val="65000"/>
              <a:buFontTx/>
              <a:buBlip>
                <a:blip r:embed="rId4"/>
              </a:buBlip>
              <a:tabLst>
                <a:tab pos="1704975" algn="l"/>
              </a:tabLst>
              <a:defRPr lang="de-DE" sz="1600" kern="1200" dirty="0" err="1" smtClean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lang="de-DE" sz="1600" kern="1200" dirty="0" smtClean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+mn-cs"/>
              </a:defRPr>
            </a:lvl2pPr>
            <a:lvl3pPr marL="914400" marR="0" indent="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de-DE" sz="1600" kern="1200" dirty="0" smtClean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lang="de-DE" sz="1600" kern="1200" dirty="0" smtClean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lang="de-DE" sz="1600" kern="12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lnSpc>
                <a:spcPct val="150000"/>
              </a:lnSpc>
              <a:spcBef>
                <a:spcPct val="0"/>
              </a:spcBef>
            </a:pPr>
            <a:r>
              <a:rPr lang="de-DE" altLang="de-DE" dirty="0" smtClean="0">
                <a:solidFill>
                  <a:schemeClr val="bg1">
                    <a:lumMod val="50000"/>
                  </a:schemeClr>
                </a:solidFill>
                <a:cs typeface="Roboto Condensed" panose="02000000000000000000" pitchFamily="2" charset="0"/>
              </a:rPr>
              <a:t>- </a:t>
            </a:r>
            <a:r>
              <a:rPr lang="de-DE" altLang="de-DE" sz="1800" b="1" dirty="0" smtClean="0">
                <a:solidFill>
                  <a:schemeClr val="bg1"/>
                </a:solidFill>
                <a:cs typeface="Roboto Condensed" panose="02000000000000000000" pitchFamily="2" charset="0"/>
              </a:rPr>
              <a:t> </a:t>
            </a:r>
            <a:r>
              <a:rPr lang="de-DE" altLang="de-DE" sz="1800" dirty="0" err="1">
                <a:solidFill>
                  <a:schemeClr val="bg1"/>
                </a:solidFill>
                <a:cs typeface="Roboto Condensed" panose="02000000000000000000" pitchFamily="2" charset="0"/>
              </a:rPr>
              <a:t>opening</a:t>
            </a:r>
            <a:r>
              <a:rPr lang="de-DE" altLang="de-DE" sz="1800" dirty="0">
                <a:solidFill>
                  <a:schemeClr val="bg1"/>
                </a:solidFill>
                <a:cs typeface="Roboto Condensed" panose="02000000000000000000" pitchFamily="2" charset="0"/>
              </a:rPr>
              <a:t> </a:t>
            </a:r>
            <a:r>
              <a:rPr lang="de-DE" altLang="de-DE" sz="1800" dirty="0" err="1">
                <a:solidFill>
                  <a:schemeClr val="bg1"/>
                </a:solidFill>
                <a:cs typeface="Roboto Condensed" panose="02000000000000000000" pitchFamily="2" charset="0"/>
              </a:rPr>
              <a:t>and</a:t>
            </a:r>
            <a:r>
              <a:rPr lang="de-DE" altLang="de-DE" sz="1800" dirty="0">
                <a:solidFill>
                  <a:schemeClr val="bg1"/>
                </a:solidFill>
                <a:cs typeface="Roboto Condensed" panose="02000000000000000000" pitchFamily="2" charset="0"/>
              </a:rPr>
              <a:t> </a:t>
            </a:r>
            <a:r>
              <a:rPr lang="de-DE" altLang="de-DE" sz="1800" dirty="0" err="1">
                <a:solidFill>
                  <a:schemeClr val="bg1"/>
                </a:solidFill>
                <a:cs typeface="Roboto Condensed" panose="02000000000000000000" pitchFamily="2" charset="0"/>
              </a:rPr>
              <a:t>closing</a:t>
            </a:r>
            <a:endParaRPr lang="de-DE" altLang="de-DE" sz="1800" dirty="0">
              <a:solidFill>
                <a:schemeClr val="bg1"/>
              </a:solidFill>
              <a:cs typeface="Roboto Condensed" panose="02000000000000000000" pitchFamily="2" charset="0"/>
            </a:endParaRPr>
          </a:p>
          <a:p>
            <a:pPr lvl="1">
              <a:lnSpc>
                <a:spcPct val="150000"/>
              </a:lnSpc>
              <a:spcBef>
                <a:spcPct val="0"/>
              </a:spcBef>
            </a:pPr>
            <a:r>
              <a:rPr lang="de-DE" altLang="de-DE" sz="1800" dirty="0" smtClean="0">
                <a:solidFill>
                  <a:schemeClr val="bg1"/>
                </a:solidFill>
                <a:cs typeface="Roboto Condensed" panose="02000000000000000000" pitchFamily="2" charset="0"/>
              </a:rPr>
              <a:t>- </a:t>
            </a:r>
            <a:r>
              <a:rPr lang="de-DE" altLang="de-DE" sz="1800" dirty="0" err="1" smtClean="0">
                <a:solidFill>
                  <a:schemeClr val="bg1"/>
                </a:solidFill>
                <a:cs typeface="Roboto Condensed" panose="02000000000000000000" pitchFamily="2" charset="0"/>
              </a:rPr>
              <a:t>clear</a:t>
            </a:r>
            <a:r>
              <a:rPr lang="de-DE" altLang="de-DE" sz="1800" dirty="0" smtClean="0">
                <a:solidFill>
                  <a:schemeClr val="bg1"/>
                </a:solidFill>
                <a:cs typeface="Roboto Condensed" panose="02000000000000000000" pitchFamily="2" charset="0"/>
              </a:rPr>
              <a:t> </a:t>
            </a:r>
            <a:r>
              <a:rPr lang="de-DE" altLang="de-DE" sz="1800" dirty="0" err="1">
                <a:solidFill>
                  <a:schemeClr val="bg1"/>
                </a:solidFill>
                <a:cs typeface="Roboto Condensed" panose="02000000000000000000" pitchFamily="2" charset="0"/>
              </a:rPr>
              <a:t>structure</a:t>
            </a:r>
            <a:r>
              <a:rPr lang="de-DE" altLang="de-DE" sz="1800" dirty="0">
                <a:solidFill>
                  <a:schemeClr val="bg1"/>
                </a:solidFill>
                <a:cs typeface="Roboto Condensed" panose="02000000000000000000" pitchFamily="2" charset="0"/>
              </a:rPr>
              <a:t> </a:t>
            </a:r>
            <a:r>
              <a:rPr lang="de-DE" altLang="de-DE" sz="1800" dirty="0" err="1">
                <a:solidFill>
                  <a:schemeClr val="bg1"/>
                </a:solidFill>
                <a:cs typeface="Roboto Condensed" panose="02000000000000000000" pitchFamily="2" charset="0"/>
              </a:rPr>
              <a:t>and</a:t>
            </a:r>
            <a:r>
              <a:rPr lang="de-DE" altLang="de-DE" sz="1800" dirty="0">
                <a:solidFill>
                  <a:schemeClr val="bg1"/>
                </a:solidFill>
                <a:cs typeface="Roboto Condensed" panose="02000000000000000000" pitchFamily="2" charset="0"/>
              </a:rPr>
              <a:t> </a:t>
            </a:r>
            <a:r>
              <a:rPr lang="de-DE" altLang="de-DE" sz="1800" dirty="0" err="1">
                <a:solidFill>
                  <a:schemeClr val="bg1"/>
                </a:solidFill>
                <a:cs typeface="Roboto Condensed" panose="02000000000000000000" pitchFamily="2" charset="0"/>
              </a:rPr>
              <a:t>signposting</a:t>
            </a:r>
            <a:r>
              <a:rPr lang="de-DE" altLang="de-DE" sz="1800" dirty="0">
                <a:solidFill>
                  <a:schemeClr val="bg1"/>
                </a:solidFill>
                <a:cs typeface="Roboto Condensed" panose="02000000000000000000" pitchFamily="2" charset="0"/>
              </a:rPr>
              <a:t> </a:t>
            </a:r>
          </a:p>
          <a:p>
            <a:pPr lvl="1">
              <a:lnSpc>
                <a:spcPct val="150000"/>
              </a:lnSpc>
              <a:spcBef>
                <a:spcPct val="0"/>
              </a:spcBef>
            </a:pPr>
            <a:r>
              <a:rPr lang="de-DE" altLang="de-DE" sz="1800" dirty="0" smtClean="0">
                <a:solidFill>
                  <a:schemeClr val="bg1"/>
                </a:solidFill>
                <a:cs typeface="Roboto Condensed" panose="02000000000000000000" pitchFamily="2" charset="0"/>
              </a:rPr>
              <a:t>- </a:t>
            </a:r>
            <a:r>
              <a:rPr lang="de-DE" altLang="de-DE" sz="1800" dirty="0" err="1" smtClean="0">
                <a:solidFill>
                  <a:schemeClr val="bg1"/>
                </a:solidFill>
                <a:cs typeface="Roboto Condensed" panose="02000000000000000000" pitchFamily="2" charset="0"/>
              </a:rPr>
              <a:t>visual</a:t>
            </a:r>
            <a:r>
              <a:rPr lang="de-DE" altLang="de-DE" sz="1800" dirty="0" smtClean="0">
                <a:solidFill>
                  <a:schemeClr val="bg1"/>
                </a:solidFill>
                <a:cs typeface="Roboto Condensed" panose="02000000000000000000" pitchFamily="2" charset="0"/>
              </a:rPr>
              <a:t> </a:t>
            </a:r>
            <a:r>
              <a:rPr lang="de-DE" altLang="de-DE" sz="1800" dirty="0" err="1">
                <a:solidFill>
                  <a:schemeClr val="bg1"/>
                </a:solidFill>
                <a:cs typeface="Roboto Condensed" panose="02000000000000000000" pitchFamily="2" charset="0"/>
              </a:rPr>
              <a:t>aids</a:t>
            </a:r>
            <a:endParaRPr lang="de-DE" altLang="de-DE" sz="1800" dirty="0">
              <a:solidFill>
                <a:schemeClr val="bg1"/>
              </a:solidFill>
              <a:cs typeface="Roboto Condensed" panose="02000000000000000000" pitchFamily="2" charset="0"/>
            </a:endParaRPr>
          </a:p>
          <a:p>
            <a:pPr lvl="1">
              <a:lnSpc>
                <a:spcPct val="150000"/>
              </a:lnSpc>
              <a:spcBef>
                <a:spcPct val="0"/>
              </a:spcBef>
            </a:pPr>
            <a:r>
              <a:rPr lang="de-DE" altLang="de-DE" sz="1800" dirty="0" smtClean="0">
                <a:solidFill>
                  <a:schemeClr val="bg1"/>
                </a:solidFill>
                <a:cs typeface="Roboto Condensed" panose="02000000000000000000" pitchFamily="2" charset="0"/>
              </a:rPr>
              <a:t>- non-verbal </a:t>
            </a:r>
            <a:r>
              <a:rPr lang="de-DE" altLang="de-DE" sz="1800" dirty="0" err="1" smtClean="0">
                <a:solidFill>
                  <a:schemeClr val="bg1"/>
                </a:solidFill>
                <a:cs typeface="Roboto Condensed" panose="02000000000000000000" pitchFamily="2" charset="0"/>
              </a:rPr>
              <a:t>communication</a:t>
            </a:r>
            <a:endParaRPr lang="de-DE" altLang="de-DE" sz="1800" dirty="0" smtClean="0">
              <a:solidFill>
                <a:schemeClr val="bg1"/>
              </a:solidFill>
              <a:cs typeface="Roboto Condensed" panose="02000000000000000000" pitchFamily="2" charset="0"/>
            </a:endParaRPr>
          </a:p>
          <a:p>
            <a:pPr lvl="1">
              <a:lnSpc>
                <a:spcPct val="150000"/>
              </a:lnSpc>
              <a:spcBef>
                <a:spcPct val="0"/>
              </a:spcBef>
            </a:pPr>
            <a:r>
              <a:rPr lang="de-DE" altLang="de-DE" sz="1800" dirty="0" smtClean="0">
                <a:solidFill>
                  <a:schemeClr val="bg1"/>
                </a:solidFill>
                <a:cs typeface="Roboto Condensed" panose="02000000000000000000" pitchFamily="2" charset="0"/>
              </a:rPr>
              <a:t>- </a:t>
            </a:r>
            <a:r>
              <a:rPr lang="de-DE" altLang="de-DE" sz="1800" dirty="0" err="1" smtClean="0">
                <a:solidFill>
                  <a:schemeClr val="bg1"/>
                </a:solidFill>
                <a:cs typeface="Roboto Condensed" panose="02000000000000000000" pitchFamily="2" charset="0"/>
              </a:rPr>
              <a:t>presenting</a:t>
            </a:r>
            <a:r>
              <a:rPr lang="de-DE" altLang="de-DE" sz="1800" dirty="0" smtClean="0">
                <a:solidFill>
                  <a:schemeClr val="bg1"/>
                </a:solidFill>
                <a:cs typeface="Roboto Condensed" panose="02000000000000000000" pitchFamily="2" charset="0"/>
              </a:rPr>
              <a:t> </a:t>
            </a:r>
            <a:r>
              <a:rPr lang="de-DE" altLang="de-DE" sz="1800" dirty="0" err="1">
                <a:solidFill>
                  <a:schemeClr val="bg1"/>
                </a:solidFill>
                <a:cs typeface="Roboto Condensed" panose="02000000000000000000" pitchFamily="2" charset="0"/>
              </a:rPr>
              <a:t>facts</a:t>
            </a:r>
            <a:r>
              <a:rPr lang="de-DE" altLang="de-DE" sz="1800" dirty="0">
                <a:solidFill>
                  <a:schemeClr val="bg1"/>
                </a:solidFill>
                <a:cs typeface="Roboto Condensed" panose="02000000000000000000" pitchFamily="2" charset="0"/>
              </a:rPr>
              <a:t> </a:t>
            </a:r>
            <a:r>
              <a:rPr lang="de-DE" altLang="de-DE" sz="1800" dirty="0" err="1">
                <a:solidFill>
                  <a:schemeClr val="bg1"/>
                </a:solidFill>
                <a:cs typeface="Roboto Condensed" panose="02000000000000000000" pitchFamily="2" charset="0"/>
              </a:rPr>
              <a:t>and</a:t>
            </a:r>
            <a:r>
              <a:rPr lang="de-DE" altLang="de-DE" sz="1800" dirty="0">
                <a:solidFill>
                  <a:schemeClr val="bg1"/>
                </a:solidFill>
                <a:cs typeface="Roboto Condensed" panose="02000000000000000000" pitchFamily="2" charset="0"/>
              </a:rPr>
              <a:t> </a:t>
            </a:r>
            <a:r>
              <a:rPr lang="de-DE" altLang="de-DE" sz="1800" dirty="0" err="1">
                <a:solidFill>
                  <a:schemeClr val="bg1"/>
                </a:solidFill>
                <a:cs typeface="Roboto Condensed" panose="02000000000000000000" pitchFamily="2" charset="0"/>
              </a:rPr>
              <a:t>figures</a:t>
            </a:r>
            <a:endParaRPr lang="de-DE" altLang="de-DE" sz="1800" dirty="0">
              <a:solidFill>
                <a:schemeClr val="bg1"/>
              </a:solidFill>
              <a:cs typeface="Roboto Condensed" panose="02000000000000000000" pitchFamily="2" charset="0"/>
            </a:endParaRPr>
          </a:p>
          <a:p>
            <a:pPr lvl="1">
              <a:lnSpc>
                <a:spcPct val="150000"/>
              </a:lnSpc>
              <a:spcBef>
                <a:spcPct val="0"/>
              </a:spcBef>
            </a:pPr>
            <a:r>
              <a:rPr lang="de-DE" altLang="de-DE" sz="1800" dirty="0" smtClean="0">
                <a:solidFill>
                  <a:schemeClr val="bg1"/>
                </a:solidFill>
                <a:cs typeface="Roboto Condensed" panose="02000000000000000000" pitchFamily="2" charset="0"/>
              </a:rPr>
              <a:t>- </a:t>
            </a:r>
            <a:r>
              <a:rPr lang="de-DE" altLang="de-DE" sz="1800" dirty="0" err="1" smtClean="0">
                <a:solidFill>
                  <a:schemeClr val="bg1"/>
                </a:solidFill>
                <a:cs typeface="Roboto Condensed" panose="02000000000000000000" pitchFamily="2" charset="0"/>
              </a:rPr>
              <a:t>question</a:t>
            </a:r>
            <a:r>
              <a:rPr lang="de-DE" altLang="de-DE" sz="1800" dirty="0" smtClean="0">
                <a:solidFill>
                  <a:schemeClr val="bg1"/>
                </a:solidFill>
                <a:cs typeface="Roboto Condensed" panose="02000000000000000000" pitchFamily="2" charset="0"/>
              </a:rPr>
              <a:t> </a:t>
            </a:r>
            <a:r>
              <a:rPr lang="de-DE" altLang="de-DE" sz="1800" dirty="0" err="1">
                <a:solidFill>
                  <a:schemeClr val="bg1"/>
                </a:solidFill>
                <a:cs typeface="Roboto Condensed" panose="02000000000000000000" pitchFamily="2" charset="0"/>
              </a:rPr>
              <a:t>and</a:t>
            </a:r>
            <a:r>
              <a:rPr lang="de-DE" altLang="de-DE" sz="1800" dirty="0">
                <a:solidFill>
                  <a:schemeClr val="bg1"/>
                </a:solidFill>
                <a:cs typeface="Roboto Condensed" panose="02000000000000000000" pitchFamily="2" charset="0"/>
              </a:rPr>
              <a:t> </a:t>
            </a:r>
            <a:r>
              <a:rPr lang="de-DE" altLang="de-DE" sz="1800" dirty="0" err="1">
                <a:solidFill>
                  <a:schemeClr val="bg1"/>
                </a:solidFill>
                <a:cs typeface="Roboto Condensed" panose="02000000000000000000" pitchFamily="2" charset="0"/>
              </a:rPr>
              <a:t>answer</a:t>
            </a:r>
            <a:r>
              <a:rPr lang="de-DE" altLang="de-DE" sz="1800" dirty="0">
                <a:solidFill>
                  <a:schemeClr val="bg1"/>
                </a:solidFill>
                <a:cs typeface="Roboto Condensed" panose="02000000000000000000" pitchFamily="2" charset="0"/>
              </a:rPr>
              <a:t> </a:t>
            </a:r>
            <a:r>
              <a:rPr lang="de-DE" altLang="de-DE" sz="1800" dirty="0" err="1">
                <a:solidFill>
                  <a:schemeClr val="bg1"/>
                </a:solidFill>
                <a:cs typeface="Roboto Condensed" panose="02000000000000000000" pitchFamily="2" charset="0"/>
              </a:rPr>
              <a:t>session</a:t>
            </a:r>
            <a:endParaRPr lang="de-DE" altLang="de-DE" sz="1800" dirty="0">
              <a:solidFill>
                <a:schemeClr val="bg1"/>
              </a:solidFill>
              <a:cs typeface="Roboto Condensed" panose="02000000000000000000" pitchFamily="2" charset="0"/>
            </a:endParaRPr>
          </a:p>
          <a:p>
            <a:pPr algn="l">
              <a:lnSpc>
                <a:spcPts val="1800"/>
              </a:lnSpc>
              <a:buFontTx/>
              <a:buChar char="-"/>
            </a:pPr>
            <a:endParaRPr lang="de-DE" dirty="0">
              <a:solidFill>
                <a:schemeClr val="bg1">
                  <a:lumMod val="50000"/>
                </a:schemeClr>
              </a:solidFill>
            </a:endParaRPr>
          </a:p>
          <a:p>
            <a:pPr algn="l">
              <a:lnSpc>
                <a:spcPts val="1800"/>
              </a:lnSpc>
              <a:buFontTx/>
              <a:buChar char="-"/>
            </a:pPr>
            <a:endParaRPr lang="de-DE" dirty="0" smtClean="0">
              <a:solidFill>
                <a:schemeClr val="bg1">
                  <a:lumMod val="50000"/>
                </a:schemeClr>
              </a:solidFill>
            </a:endParaRPr>
          </a:p>
          <a:p>
            <a:pPr algn="l">
              <a:lnSpc>
                <a:spcPts val="1800"/>
              </a:lnSpc>
              <a:buFontTx/>
              <a:buChar char="-"/>
            </a:pPr>
            <a:endParaRPr lang="de-DE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14" name="Textplatzhalter 5">
            <a:extLst>
              <a:ext uri="{FF2B5EF4-FFF2-40B4-BE49-F238E27FC236}">
                <a16:creationId xmlns:a16="http://schemas.microsoft.com/office/drawing/2014/main" xmlns="" id="{E483239E-B7FF-4473-BEC7-2F375E16713D}"/>
              </a:ext>
            </a:extLst>
          </p:cNvPr>
          <p:cNvSpPr txBox="1">
            <a:spLocks/>
          </p:cNvSpPr>
          <p:nvPr/>
        </p:nvSpPr>
        <p:spPr>
          <a:xfrm>
            <a:off x="6096000" y="2501342"/>
            <a:ext cx="4830846" cy="2662842"/>
          </a:xfrm>
          <a:prstGeom prst="rect">
            <a:avLst/>
          </a:prstGeom>
        </p:spPr>
        <p:txBody>
          <a:bodyPr/>
          <a:lstStyle>
            <a:lvl1pPr marL="285750" indent="-285750" algn="ctr" defTabSz="914400" rtl="0" eaLnBrk="1" latinLnBrk="0" hangingPunct="1">
              <a:lnSpc>
                <a:spcPts val="2400"/>
              </a:lnSpc>
              <a:spcBef>
                <a:spcPts val="1000"/>
              </a:spcBef>
              <a:buSzPct val="65000"/>
              <a:buFontTx/>
              <a:buBlip>
                <a:blip r:embed="rId4"/>
              </a:buBlip>
              <a:tabLst>
                <a:tab pos="1704975" algn="l"/>
              </a:tabLst>
              <a:defRPr lang="de-DE" sz="1600" kern="1200" dirty="0" err="1" smtClean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lang="de-DE" sz="1600" kern="1200" dirty="0" smtClean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+mn-cs"/>
              </a:defRPr>
            </a:lvl2pPr>
            <a:lvl3pPr marL="914400" marR="0" indent="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de-DE" sz="1600" kern="1200" dirty="0" smtClean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lang="de-DE" sz="1600" kern="1200" dirty="0" smtClean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lang="de-DE" sz="1600" kern="12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ts val="1800"/>
              </a:lnSpc>
            </a:pPr>
            <a:endParaRPr lang="de-DE" dirty="0">
              <a:solidFill>
                <a:srgbClr val="343434"/>
              </a:solidFill>
            </a:endParaRPr>
          </a:p>
        </p:txBody>
      </p:sp>
      <p:sp>
        <p:nvSpPr>
          <p:cNvPr id="2" name="Textfeld 1"/>
          <p:cNvSpPr txBox="1"/>
          <p:nvPr/>
        </p:nvSpPr>
        <p:spPr>
          <a:xfrm>
            <a:off x="5328275" y="2132010"/>
            <a:ext cx="3183148" cy="369332"/>
          </a:xfrm>
          <a:prstGeom prst="rect">
            <a:avLst/>
          </a:prstGeom>
          <a:solidFill>
            <a:srgbClr val="FFFF00"/>
          </a:solidFill>
        </p:spPr>
        <p:txBody>
          <a:bodyPr wrap="square" rtlCol="0">
            <a:spAutoFit/>
          </a:bodyPr>
          <a:lstStyle/>
          <a:p>
            <a:r>
              <a:rPr lang="de-DE" dirty="0" err="1" smtClean="0">
                <a:solidFill>
                  <a:schemeClr val="bg1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Roboto Condensed" panose="02000000000000000000" pitchFamily="2" charset="0"/>
              </a:rPr>
              <a:t>always</a:t>
            </a:r>
            <a:r>
              <a:rPr lang="de-DE" dirty="0" smtClean="0">
                <a:solidFill>
                  <a:schemeClr val="bg1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Roboto Condensed" panose="02000000000000000000" pitchFamily="2" charset="0"/>
              </a:rPr>
              <a:t> in a </a:t>
            </a:r>
            <a:r>
              <a:rPr lang="de-DE" dirty="0" err="1" smtClean="0">
                <a:solidFill>
                  <a:schemeClr val="bg1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Roboto Condensed" panose="02000000000000000000" pitchFamily="2" charset="0"/>
              </a:rPr>
              <a:t>technical</a:t>
            </a:r>
            <a:r>
              <a:rPr lang="de-DE" dirty="0" smtClean="0">
                <a:solidFill>
                  <a:schemeClr val="bg1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Roboto Condensed" panose="02000000000000000000" pitchFamily="2" charset="0"/>
              </a:rPr>
              <a:t> </a:t>
            </a:r>
            <a:r>
              <a:rPr lang="de-DE" dirty="0" err="1" smtClean="0">
                <a:solidFill>
                  <a:schemeClr val="bg1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Roboto Condensed" panose="02000000000000000000" pitchFamily="2" charset="0"/>
              </a:rPr>
              <a:t>context</a:t>
            </a:r>
            <a:endParaRPr lang="de-DE" dirty="0">
              <a:solidFill>
                <a:schemeClr val="bg1"/>
              </a:solidFill>
              <a:latin typeface="Roboto Condensed" panose="02000000000000000000" pitchFamily="2" charset="0"/>
              <a:ea typeface="Roboto Condensed" panose="02000000000000000000" pitchFamily="2" charset="0"/>
              <a:cs typeface="Roboto Condensed" panose="02000000000000000000" pitchFamily="2" charset="0"/>
            </a:endParaRPr>
          </a:p>
        </p:txBody>
      </p:sp>
      <p:sp>
        <p:nvSpPr>
          <p:cNvPr id="8" name="Gleichschenkliges Dreieck 7"/>
          <p:cNvSpPr/>
          <p:nvPr/>
        </p:nvSpPr>
        <p:spPr bwMode="auto">
          <a:xfrm>
            <a:off x="5270740" y="2941607"/>
            <a:ext cx="3071004" cy="2104846"/>
          </a:xfrm>
          <a:prstGeom prst="triangle">
            <a:avLst/>
          </a:prstGeom>
          <a:solidFill>
            <a:srgbClr val="85C5FF"/>
          </a:solidFill>
          <a:ln w="28575" cap="flat" cmpd="sng" algn="ctr">
            <a:solidFill>
              <a:schemeClr val="tx1"/>
            </a:solidFill>
            <a:prstDash val="solid"/>
            <a:round/>
            <a:headEnd type="none" w="lg" len="lg"/>
            <a:tailEnd type="none" w="lg" len="lg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  <a:softEdge rad="127000"/>
          </a:effectLst>
        </p:spPr>
        <p:txBody>
          <a:bodyPr wrap="none" tIns="91440" bIns="91440" anchor="ctr"/>
          <a:lstStyle/>
          <a:p>
            <a:pPr>
              <a:defRPr/>
            </a:pPr>
            <a:endParaRPr lang="de-DE" dirty="0"/>
          </a:p>
        </p:txBody>
      </p:sp>
      <p:sp>
        <p:nvSpPr>
          <p:cNvPr id="12" name="Textfeld 4"/>
          <p:cNvSpPr txBox="1">
            <a:spLocks noChangeArrowheads="1"/>
          </p:cNvSpPr>
          <p:nvPr/>
        </p:nvSpPr>
        <p:spPr bwMode="auto">
          <a:xfrm>
            <a:off x="6265863" y="4611688"/>
            <a:ext cx="1195387" cy="339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20000"/>
              </a:spcBef>
              <a:defRPr sz="2000" b="1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buFont typeface="Wingdings" pitchFamily="2" charset="2"/>
              <a:buChar char="Ø"/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0"/>
              </a:spcBef>
            </a:pPr>
            <a:r>
              <a:rPr lang="de-DE" altLang="en-US" sz="1600" dirty="0" err="1"/>
              <a:t>practice</a:t>
            </a:r>
            <a:r>
              <a:rPr lang="de-DE" altLang="en-US" sz="1600" b="0" dirty="0"/>
              <a:t>!!!</a:t>
            </a:r>
          </a:p>
        </p:txBody>
      </p:sp>
      <p:sp>
        <p:nvSpPr>
          <p:cNvPr id="13" name="Textfeld 3"/>
          <p:cNvSpPr txBox="1">
            <a:spLocks noChangeArrowheads="1"/>
          </p:cNvSpPr>
          <p:nvPr/>
        </p:nvSpPr>
        <p:spPr bwMode="auto">
          <a:xfrm rot="3249754" flipH="1">
            <a:off x="6796882" y="3987006"/>
            <a:ext cx="1181100" cy="338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20000"/>
              </a:spcBef>
              <a:defRPr sz="2000" b="1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buFont typeface="Wingdings" pitchFamily="2" charset="2"/>
              <a:buChar char="Ø"/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0"/>
              </a:spcBef>
            </a:pPr>
            <a:r>
              <a:rPr lang="de-DE" altLang="en-US" sz="1600" dirty="0" err="1"/>
              <a:t>strategies</a:t>
            </a:r>
            <a:endParaRPr lang="de-DE" altLang="en-US" sz="1600" dirty="0"/>
          </a:p>
        </p:txBody>
      </p:sp>
      <p:sp>
        <p:nvSpPr>
          <p:cNvPr id="15" name="Textfeld 2"/>
          <p:cNvSpPr txBox="1">
            <a:spLocks noChangeArrowheads="1"/>
          </p:cNvSpPr>
          <p:nvPr/>
        </p:nvSpPr>
        <p:spPr bwMode="auto">
          <a:xfrm rot="18349160">
            <a:off x="5770563" y="3913187"/>
            <a:ext cx="1079500" cy="339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20000"/>
              </a:spcBef>
              <a:defRPr sz="2000" b="1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buFont typeface="Wingdings" pitchFamily="2" charset="2"/>
              <a:buChar char="Ø"/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0"/>
              </a:spcBef>
            </a:pPr>
            <a:r>
              <a:rPr lang="de-DE" altLang="en-US" sz="1600" dirty="0" err="1"/>
              <a:t>language</a:t>
            </a:r>
            <a:endParaRPr lang="de-DE" altLang="en-US" sz="1600" dirty="0"/>
          </a:p>
        </p:txBody>
      </p:sp>
      <p:pic>
        <p:nvPicPr>
          <p:cNvPr id="3" name="Audio 2">
            <a:hlinkClick r:id="" action="ppaction://media"/>
          </p:cNvPr>
          <p:cNvPicPr>
            <a:picLocks noChangeAspect="1"/>
          </p:cNvPicPr>
          <p:nvPr>
            <a:audi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5"/>
          <a:stretch>
            <a:fillRect/>
          </a:stretch>
        </p:blipFill>
        <p:spPr>
          <a:xfrm>
            <a:off x="11488738" y="6154738"/>
            <a:ext cx="487362" cy="4873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405298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19661"/>
    </mc:Choice>
    <mc:Fallback xmlns="">
      <p:transition spd="slow" advTm="19661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 isNarration="1">
              <p:cMediaNode vol="80000" showWhenStopped="0">
                <p:cTn id="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3"/>
                </p:tgtEl>
              </p:cMediaNode>
            </p:audio>
          </p:childTnLst>
        </p:cTn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 8">
            <a:extLst>
              <a:ext uri="{FF2B5EF4-FFF2-40B4-BE49-F238E27FC236}">
                <a16:creationId xmlns:a16="http://schemas.microsoft.com/office/drawing/2014/main" xmlns="" id="{48D8A2D3-B443-4986-B1ED-38333861808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e-DE" dirty="0" smtClean="0">
                <a:solidFill>
                  <a:srgbClr val="343434"/>
                </a:solidFill>
              </a:rPr>
              <a:t>English </a:t>
            </a:r>
            <a:r>
              <a:rPr lang="de-DE" dirty="0" smtClean="0">
                <a:solidFill>
                  <a:srgbClr val="343434"/>
                </a:solidFill>
              </a:rPr>
              <a:t>III</a:t>
            </a:r>
            <a:endParaRPr lang="de-DE" dirty="0">
              <a:solidFill>
                <a:srgbClr val="343434"/>
              </a:solidFill>
            </a:endParaRPr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xmlns="" id="{18B4579A-4238-40E2-906C-8E6A9538D842}"/>
              </a:ext>
            </a:extLst>
          </p:cNvPr>
          <p:cNvSpPr txBox="1">
            <a:spLocks/>
          </p:cNvSpPr>
          <p:nvPr/>
        </p:nvSpPr>
        <p:spPr>
          <a:xfrm>
            <a:off x="852784" y="1889341"/>
            <a:ext cx="4883782" cy="330864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IN" sz="2000" b="1" kern="1200" baseline="0" dirty="0">
                <a:solidFill>
                  <a:srgbClr val="002B6A"/>
                </a:solidFill>
                <a:latin typeface="Roboto Cn" pitchFamily="2" charset="0"/>
                <a:ea typeface="Roboto Cn" pitchFamily="2" charset="0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rgbClr val="FFFFFF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+mn-cs"/>
              </a:defRPr>
            </a:lvl2pPr>
            <a:lvl3pPr marL="914400" marR="0" indent="0" algn="ctr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kern="1200">
                <a:solidFill>
                  <a:srgbClr val="FFFFFF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rgbClr val="FFFFFF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rgbClr val="FFFFFF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1800" dirty="0" smtClean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What makes a good presentation?</a:t>
            </a:r>
            <a:endParaRPr lang="en-US" sz="1800" dirty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11" name="Textplatzhalter 5">
            <a:extLst>
              <a:ext uri="{FF2B5EF4-FFF2-40B4-BE49-F238E27FC236}">
                <a16:creationId xmlns:a16="http://schemas.microsoft.com/office/drawing/2014/main" xmlns="" id="{07259BD0-8F46-453D-852A-6EDA7FC8F2F5}"/>
              </a:ext>
            </a:extLst>
          </p:cNvPr>
          <p:cNvSpPr txBox="1">
            <a:spLocks/>
          </p:cNvSpPr>
          <p:nvPr/>
        </p:nvSpPr>
        <p:spPr>
          <a:xfrm>
            <a:off x="821018" y="2130725"/>
            <a:ext cx="4639504" cy="3830128"/>
          </a:xfrm>
          <a:prstGeom prst="rect">
            <a:avLst/>
          </a:prstGeom>
        </p:spPr>
        <p:txBody>
          <a:bodyPr/>
          <a:lstStyle>
            <a:lvl1pPr marL="285750" indent="-285750" algn="ctr" defTabSz="914400" rtl="0" eaLnBrk="1" latinLnBrk="0" hangingPunct="1">
              <a:lnSpc>
                <a:spcPts val="2400"/>
              </a:lnSpc>
              <a:spcBef>
                <a:spcPts val="1000"/>
              </a:spcBef>
              <a:buSzPct val="65000"/>
              <a:buFontTx/>
              <a:buBlip>
                <a:blip r:embed="rId4"/>
              </a:buBlip>
              <a:tabLst>
                <a:tab pos="1704975" algn="l"/>
              </a:tabLst>
              <a:defRPr lang="de-DE" sz="1600" kern="1200" dirty="0" err="1" smtClean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lang="de-DE" sz="1600" kern="1200" dirty="0" smtClean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+mn-cs"/>
              </a:defRPr>
            </a:lvl2pPr>
            <a:lvl3pPr marL="914400" marR="0" indent="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de-DE" sz="1600" kern="1200" dirty="0" smtClean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lang="de-DE" sz="1600" kern="1200" dirty="0" smtClean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lang="de-DE" sz="1600" kern="12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ts val="1800"/>
              </a:lnSpc>
              <a:buFontTx/>
              <a:buChar char="-"/>
            </a:pPr>
            <a:endParaRPr lang="de-DE" dirty="0">
              <a:solidFill>
                <a:schemeClr val="bg1">
                  <a:lumMod val="50000"/>
                </a:schemeClr>
              </a:solidFill>
            </a:endParaRPr>
          </a:p>
          <a:p>
            <a:pPr lvl="1">
              <a:lnSpc>
                <a:spcPct val="120000"/>
              </a:lnSpc>
              <a:spcBef>
                <a:spcPct val="0"/>
              </a:spcBef>
            </a:pPr>
            <a:r>
              <a:rPr lang="de-DE" altLang="de-DE" sz="1800" dirty="0" err="1">
                <a:solidFill>
                  <a:schemeClr val="bg1"/>
                </a:solidFill>
              </a:rPr>
              <a:t>clear</a:t>
            </a:r>
            <a:r>
              <a:rPr lang="de-DE" altLang="de-DE" sz="1800" dirty="0">
                <a:solidFill>
                  <a:schemeClr val="bg1"/>
                </a:solidFill>
              </a:rPr>
              <a:t> </a:t>
            </a:r>
            <a:r>
              <a:rPr lang="de-DE" altLang="de-DE" sz="1800" dirty="0" err="1">
                <a:solidFill>
                  <a:schemeClr val="bg1"/>
                </a:solidFill>
              </a:rPr>
              <a:t>structure</a:t>
            </a:r>
            <a:endParaRPr lang="de-DE" altLang="de-DE" sz="1800" dirty="0">
              <a:solidFill>
                <a:schemeClr val="bg1"/>
              </a:solidFill>
            </a:endParaRPr>
          </a:p>
          <a:p>
            <a:pPr lvl="1">
              <a:lnSpc>
                <a:spcPct val="120000"/>
              </a:lnSpc>
              <a:spcBef>
                <a:spcPct val="0"/>
              </a:spcBef>
            </a:pPr>
            <a:r>
              <a:rPr lang="de-DE" altLang="de-DE" sz="1800" dirty="0" err="1"/>
              <a:t>speak</a:t>
            </a:r>
            <a:r>
              <a:rPr lang="de-DE" altLang="de-DE" sz="1800" dirty="0"/>
              <a:t> </a:t>
            </a:r>
            <a:r>
              <a:rPr lang="de-DE" altLang="de-DE" sz="1800" dirty="0" err="1"/>
              <a:t>fluently</a:t>
            </a:r>
            <a:endParaRPr lang="de-DE" altLang="de-DE" sz="1800" dirty="0"/>
          </a:p>
          <a:p>
            <a:pPr lvl="1">
              <a:lnSpc>
                <a:spcPct val="120000"/>
              </a:lnSpc>
              <a:spcBef>
                <a:spcPct val="0"/>
              </a:spcBef>
            </a:pPr>
            <a:r>
              <a:rPr lang="de-DE" altLang="de-DE" sz="1800" dirty="0" err="1"/>
              <a:t>speak</a:t>
            </a:r>
            <a:r>
              <a:rPr lang="de-DE" altLang="de-DE" sz="1800" dirty="0"/>
              <a:t> </a:t>
            </a:r>
            <a:r>
              <a:rPr lang="de-DE" altLang="de-DE" sz="1800" dirty="0" err="1"/>
              <a:t>clearly</a:t>
            </a:r>
            <a:endParaRPr lang="de-DE" altLang="de-DE" sz="1800" dirty="0"/>
          </a:p>
          <a:p>
            <a:pPr lvl="1">
              <a:lnSpc>
                <a:spcPct val="120000"/>
              </a:lnSpc>
              <a:spcBef>
                <a:spcPct val="0"/>
              </a:spcBef>
            </a:pPr>
            <a:r>
              <a:rPr lang="de-DE" altLang="de-DE" sz="1800" dirty="0" err="1"/>
              <a:t>good</a:t>
            </a:r>
            <a:r>
              <a:rPr lang="de-DE" altLang="de-DE" sz="1800" dirty="0"/>
              <a:t> </a:t>
            </a:r>
            <a:r>
              <a:rPr lang="de-DE" altLang="de-DE" sz="1800" dirty="0" err="1"/>
              <a:t>body</a:t>
            </a:r>
            <a:r>
              <a:rPr lang="de-DE" altLang="de-DE" sz="1800" dirty="0"/>
              <a:t> </a:t>
            </a:r>
            <a:r>
              <a:rPr lang="de-DE" altLang="de-DE" sz="1800" dirty="0" err="1"/>
              <a:t>language</a:t>
            </a:r>
            <a:endParaRPr lang="de-DE" altLang="de-DE" sz="1800" dirty="0"/>
          </a:p>
          <a:p>
            <a:pPr lvl="1">
              <a:lnSpc>
                <a:spcPct val="120000"/>
              </a:lnSpc>
              <a:spcBef>
                <a:spcPct val="0"/>
              </a:spcBef>
            </a:pPr>
            <a:r>
              <a:rPr lang="de-DE" altLang="de-DE" sz="1800" dirty="0" err="1"/>
              <a:t>keep</a:t>
            </a:r>
            <a:r>
              <a:rPr lang="de-DE" altLang="de-DE" sz="1800" dirty="0"/>
              <a:t> </a:t>
            </a:r>
            <a:r>
              <a:rPr lang="de-DE" altLang="de-DE" sz="1800" dirty="0" err="1"/>
              <a:t>eye</a:t>
            </a:r>
            <a:r>
              <a:rPr lang="de-DE" altLang="de-DE" sz="1800" dirty="0"/>
              <a:t> </a:t>
            </a:r>
            <a:r>
              <a:rPr lang="de-DE" altLang="de-DE" sz="1800" dirty="0" err="1"/>
              <a:t>contact</a:t>
            </a:r>
            <a:endParaRPr lang="de-DE" altLang="de-DE" sz="1800" dirty="0"/>
          </a:p>
          <a:p>
            <a:pPr lvl="1">
              <a:lnSpc>
                <a:spcPct val="120000"/>
              </a:lnSpc>
              <a:spcBef>
                <a:spcPct val="0"/>
              </a:spcBef>
            </a:pPr>
            <a:r>
              <a:rPr lang="de-DE" altLang="de-DE" sz="1800" dirty="0" err="1"/>
              <a:t>audience</a:t>
            </a:r>
            <a:r>
              <a:rPr lang="de-DE" altLang="de-DE" sz="1800" dirty="0"/>
              <a:t> </a:t>
            </a:r>
            <a:r>
              <a:rPr lang="de-DE" altLang="de-DE" sz="1800" dirty="0" err="1"/>
              <a:t>involvement</a:t>
            </a:r>
            <a:endParaRPr lang="de-DE" altLang="de-DE" sz="1800" dirty="0"/>
          </a:p>
          <a:p>
            <a:pPr lvl="1">
              <a:lnSpc>
                <a:spcPct val="120000"/>
              </a:lnSpc>
              <a:spcBef>
                <a:spcPct val="0"/>
              </a:spcBef>
            </a:pPr>
            <a:r>
              <a:rPr lang="de-DE" altLang="de-DE" sz="1800" dirty="0" err="1"/>
              <a:t>good</a:t>
            </a:r>
            <a:r>
              <a:rPr lang="de-DE" altLang="de-DE" sz="1800" dirty="0"/>
              <a:t> </a:t>
            </a:r>
            <a:r>
              <a:rPr lang="de-DE" altLang="de-DE" sz="1800" dirty="0" err="1"/>
              <a:t>visuals</a:t>
            </a:r>
            <a:endParaRPr lang="de-DE" altLang="de-DE" sz="1800" dirty="0"/>
          </a:p>
          <a:p>
            <a:pPr lvl="1">
              <a:lnSpc>
                <a:spcPct val="120000"/>
              </a:lnSpc>
              <a:spcBef>
                <a:spcPct val="0"/>
              </a:spcBef>
            </a:pPr>
            <a:r>
              <a:rPr lang="de-DE" altLang="de-DE" sz="1800" dirty="0" err="1" smtClean="0"/>
              <a:t>good</a:t>
            </a:r>
            <a:r>
              <a:rPr lang="de-DE" altLang="de-DE" sz="1800" dirty="0" smtClean="0"/>
              <a:t> </a:t>
            </a:r>
            <a:r>
              <a:rPr lang="de-DE" altLang="de-DE" sz="1800" dirty="0" err="1" smtClean="0"/>
              <a:t>preparation</a:t>
            </a:r>
            <a:endParaRPr lang="de-DE" altLang="de-DE" sz="1800" dirty="0" smtClean="0"/>
          </a:p>
          <a:p>
            <a:pPr lvl="1">
              <a:lnSpc>
                <a:spcPct val="120000"/>
              </a:lnSpc>
              <a:spcBef>
                <a:spcPct val="0"/>
              </a:spcBef>
            </a:pPr>
            <a:r>
              <a:rPr lang="de-DE" altLang="de-DE" sz="1800" dirty="0" err="1" smtClean="0"/>
              <a:t>make</a:t>
            </a:r>
            <a:r>
              <a:rPr lang="de-DE" altLang="de-DE" sz="1800" dirty="0" smtClean="0"/>
              <a:t> </a:t>
            </a:r>
            <a:r>
              <a:rPr lang="de-DE" altLang="de-DE" sz="1800" dirty="0" err="1"/>
              <a:t>it</a:t>
            </a:r>
            <a:r>
              <a:rPr lang="de-DE" altLang="de-DE" sz="1800" dirty="0"/>
              <a:t> </a:t>
            </a:r>
            <a:r>
              <a:rPr lang="de-DE" altLang="de-DE" sz="1800" dirty="0" err="1"/>
              <a:t>interesting</a:t>
            </a:r>
            <a:r>
              <a:rPr lang="de-DE" altLang="de-DE" sz="1800" dirty="0"/>
              <a:t> </a:t>
            </a:r>
            <a:r>
              <a:rPr lang="de-DE" altLang="de-DE" sz="1800" dirty="0" err="1"/>
              <a:t>and</a:t>
            </a:r>
            <a:r>
              <a:rPr lang="de-DE" altLang="de-DE" sz="1800" dirty="0"/>
              <a:t> relevant</a:t>
            </a:r>
          </a:p>
          <a:p>
            <a:pPr lvl="1">
              <a:lnSpc>
                <a:spcPct val="120000"/>
              </a:lnSpc>
              <a:spcBef>
                <a:spcPct val="0"/>
              </a:spcBef>
            </a:pPr>
            <a:r>
              <a:rPr lang="de-DE" altLang="de-DE" sz="1800" dirty="0" err="1"/>
              <a:t>intonation</a:t>
            </a:r>
            <a:endParaRPr lang="de-DE" altLang="de-DE" sz="1800" dirty="0"/>
          </a:p>
          <a:p>
            <a:pPr algn="l">
              <a:lnSpc>
                <a:spcPts val="1800"/>
              </a:lnSpc>
              <a:buFontTx/>
              <a:buChar char="-"/>
            </a:pPr>
            <a:endParaRPr lang="de-DE" dirty="0">
              <a:solidFill>
                <a:schemeClr val="bg1">
                  <a:lumMod val="50000"/>
                </a:schemeClr>
              </a:solidFill>
            </a:endParaRPr>
          </a:p>
          <a:p>
            <a:pPr algn="l">
              <a:lnSpc>
                <a:spcPts val="1800"/>
              </a:lnSpc>
              <a:buFontTx/>
              <a:buChar char="-"/>
            </a:pPr>
            <a:endParaRPr lang="de-DE" dirty="0" smtClean="0">
              <a:solidFill>
                <a:schemeClr val="bg1">
                  <a:lumMod val="50000"/>
                </a:schemeClr>
              </a:solidFill>
            </a:endParaRPr>
          </a:p>
          <a:p>
            <a:pPr algn="l">
              <a:lnSpc>
                <a:spcPts val="1800"/>
              </a:lnSpc>
              <a:buFontTx/>
              <a:buChar char="-"/>
            </a:pPr>
            <a:endParaRPr lang="de-DE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14" name="Textplatzhalter 5">
            <a:extLst>
              <a:ext uri="{FF2B5EF4-FFF2-40B4-BE49-F238E27FC236}">
                <a16:creationId xmlns:a16="http://schemas.microsoft.com/office/drawing/2014/main" xmlns="" id="{E483239E-B7FF-4473-BEC7-2F375E16713D}"/>
              </a:ext>
            </a:extLst>
          </p:cNvPr>
          <p:cNvSpPr txBox="1">
            <a:spLocks/>
          </p:cNvSpPr>
          <p:nvPr/>
        </p:nvSpPr>
        <p:spPr>
          <a:xfrm>
            <a:off x="6096000" y="2501342"/>
            <a:ext cx="4830846" cy="2662842"/>
          </a:xfrm>
          <a:prstGeom prst="rect">
            <a:avLst/>
          </a:prstGeom>
        </p:spPr>
        <p:txBody>
          <a:bodyPr/>
          <a:lstStyle>
            <a:lvl1pPr marL="285750" indent="-285750" algn="ctr" defTabSz="914400" rtl="0" eaLnBrk="1" latinLnBrk="0" hangingPunct="1">
              <a:lnSpc>
                <a:spcPts val="2400"/>
              </a:lnSpc>
              <a:spcBef>
                <a:spcPts val="1000"/>
              </a:spcBef>
              <a:buSzPct val="65000"/>
              <a:buFontTx/>
              <a:buBlip>
                <a:blip r:embed="rId4"/>
              </a:buBlip>
              <a:tabLst>
                <a:tab pos="1704975" algn="l"/>
              </a:tabLst>
              <a:defRPr lang="de-DE" sz="1600" kern="1200" dirty="0" err="1" smtClean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lang="de-DE" sz="1600" kern="1200" dirty="0" smtClean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+mn-cs"/>
              </a:defRPr>
            </a:lvl2pPr>
            <a:lvl3pPr marL="914400" marR="0" indent="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de-DE" sz="1600" kern="1200" dirty="0" smtClean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lang="de-DE" sz="1600" kern="1200" dirty="0" smtClean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lang="de-DE" sz="1600" kern="12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ts val="1800"/>
              </a:lnSpc>
            </a:pPr>
            <a:endParaRPr lang="de-DE" dirty="0">
              <a:solidFill>
                <a:srgbClr val="343434"/>
              </a:solidFill>
            </a:endParaRPr>
          </a:p>
        </p:txBody>
      </p:sp>
      <p:sp>
        <p:nvSpPr>
          <p:cNvPr id="3" name="Textfeld 2"/>
          <p:cNvSpPr txBox="1"/>
          <p:nvPr/>
        </p:nvSpPr>
        <p:spPr>
          <a:xfrm>
            <a:off x="6095998" y="2449583"/>
            <a:ext cx="3927895" cy="30285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1">
              <a:lnSpc>
                <a:spcPct val="120000"/>
              </a:lnSpc>
              <a:spcBef>
                <a:spcPct val="0"/>
              </a:spcBef>
            </a:pPr>
            <a:r>
              <a:rPr lang="de-DE" altLang="de-DE" sz="1600" dirty="0" err="1"/>
              <a:t>pronunciation</a:t>
            </a:r>
            <a:endParaRPr lang="de-DE" altLang="de-DE" sz="1600" dirty="0"/>
          </a:p>
          <a:p>
            <a:pPr lvl="1">
              <a:lnSpc>
                <a:spcPct val="120000"/>
              </a:lnSpc>
              <a:spcBef>
                <a:spcPct val="0"/>
              </a:spcBef>
            </a:pPr>
            <a:r>
              <a:rPr lang="de-DE" altLang="de-DE" sz="1600" dirty="0" err="1"/>
              <a:t>be</a:t>
            </a:r>
            <a:r>
              <a:rPr lang="de-DE" altLang="de-DE" sz="1600" dirty="0"/>
              <a:t> </a:t>
            </a:r>
            <a:r>
              <a:rPr lang="de-DE" altLang="de-DE" sz="1600" dirty="0" err="1"/>
              <a:t>able</a:t>
            </a:r>
            <a:r>
              <a:rPr lang="de-DE" altLang="de-DE" sz="1600" dirty="0"/>
              <a:t> </a:t>
            </a:r>
            <a:r>
              <a:rPr lang="de-DE" altLang="de-DE" sz="1600" dirty="0" err="1"/>
              <a:t>to</a:t>
            </a:r>
            <a:r>
              <a:rPr lang="de-DE" altLang="de-DE" sz="1600" dirty="0"/>
              <a:t> </a:t>
            </a:r>
            <a:r>
              <a:rPr lang="de-DE" altLang="de-DE" sz="1600" dirty="0" err="1"/>
              <a:t>say</a:t>
            </a:r>
            <a:r>
              <a:rPr lang="de-DE" altLang="de-DE" sz="1600" dirty="0"/>
              <a:t> </a:t>
            </a:r>
            <a:r>
              <a:rPr lang="de-DE" altLang="de-DE" sz="1600" dirty="0" err="1"/>
              <a:t>it</a:t>
            </a:r>
            <a:r>
              <a:rPr lang="de-DE" altLang="de-DE" sz="1600" dirty="0"/>
              <a:t> in simple </a:t>
            </a:r>
            <a:r>
              <a:rPr lang="de-DE" altLang="de-DE" sz="1600" dirty="0" err="1" smtClean="0"/>
              <a:t>words</a:t>
            </a:r>
            <a:endParaRPr lang="de-DE" altLang="de-DE" sz="1600" dirty="0" smtClean="0"/>
          </a:p>
          <a:p>
            <a:pPr lvl="1">
              <a:lnSpc>
                <a:spcPct val="120000"/>
              </a:lnSpc>
              <a:spcBef>
                <a:spcPct val="0"/>
              </a:spcBef>
            </a:pPr>
            <a:r>
              <a:rPr lang="de-DE" altLang="de-DE" sz="1600" dirty="0"/>
              <a:t>easy </a:t>
            </a:r>
            <a:r>
              <a:rPr lang="de-DE" altLang="de-DE" sz="1600" dirty="0" err="1"/>
              <a:t>to</a:t>
            </a:r>
            <a:r>
              <a:rPr lang="de-DE" altLang="de-DE" sz="1600" dirty="0"/>
              <a:t> follow</a:t>
            </a:r>
          </a:p>
          <a:p>
            <a:pPr lvl="1">
              <a:lnSpc>
                <a:spcPct val="120000"/>
              </a:lnSpc>
              <a:spcBef>
                <a:spcPct val="0"/>
              </a:spcBef>
            </a:pPr>
            <a:r>
              <a:rPr lang="de-DE" altLang="de-DE" sz="1600" dirty="0" err="1"/>
              <a:t>no</a:t>
            </a:r>
            <a:r>
              <a:rPr lang="de-DE" altLang="de-DE" sz="1600" dirty="0"/>
              <a:t> funny </a:t>
            </a:r>
            <a:r>
              <a:rPr lang="de-DE" altLang="de-DE" sz="1600" dirty="0" err="1"/>
              <a:t>gestures</a:t>
            </a:r>
            <a:endParaRPr lang="de-DE" altLang="de-DE" sz="1600" dirty="0"/>
          </a:p>
          <a:p>
            <a:pPr lvl="1">
              <a:lnSpc>
                <a:spcPct val="120000"/>
              </a:lnSpc>
              <a:spcBef>
                <a:spcPct val="0"/>
              </a:spcBef>
            </a:pPr>
            <a:r>
              <a:rPr lang="de-DE" altLang="de-DE" sz="1600" dirty="0" err="1"/>
              <a:t>use</a:t>
            </a:r>
            <a:r>
              <a:rPr lang="de-DE" altLang="de-DE" sz="1600" dirty="0"/>
              <a:t> </a:t>
            </a:r>
            <a:r>
              <a:rPr lang="de-DE" altLang="de-DE" sz="1600" dirty="0" err="1"/>
              <a:t>of</a:t>
            </a:r>
            <a:r>
              <a:rPr lang="de-DE" altLang="de-DE" sz="1600" dirty="0"/>
              <a:t> </a:t>
            </a:r>
            <a:r>
              <a:rPr lang="de-DE" altLang="de-DE" sz="1600" dirty="0" err="1"/>
              <a:t>pauses</a:t>
            </a:r>
            <a:endParaRPr lang="de-DE" altLang="de-DE" sz="1600" dirty="0"/>
          </a:p>
          <a:p>
            <a:pPr lvl="1">
              <a:lnSpc>
                <a:spcPct val="120000"/>
              </a:lnSpc>
              <a:spcBef>
                <a:spcPct val="0"/>
              </a:spcBef>
            </a:pPr>
            <a:r>
              <a:rPr lang="de-DE" altLang="de-DE" sz="1600" dirty="0"/>
              <a:t>…</a:t>
            </a:r>
          </a:p>
          <a:p>
            <a:pPr lvl="1">
              <a:lnSpc>
                <a:spcPct val="120000"/>
              </a:lnSpc>
              <a:spcBef>
                <a:spcPct val="0"/>
              </a:spcBef>
            </a:pPr>
            <a:r>
              <a:rPr lang="de-DE" altLang="de-DE" sz="1600" dirty="0"/>
              <a:t>…</a:t>
            </a:r>
          </a:p>
          <a:p>
            <a:pPr lvl="1">
              <a:lnSpc>
                <a:spcPct val="120000"/>
              </a:lnSpc>
              <a:spcBef>
                <a:spcPct val="0"/>
              </a:spcBef>
            </a:pPr>
            <a:endParaRPr lang="de-DE" altLang="de-DE" sz="1600" dirty="0" smtClean="0"/>
          </a:p>
          <a:p>
            <a:pPr lvl="1">
              <a:lnSpc>
                <a:spcPct val="120000"/>
              </a:lnSpc>
              <a:spcBef>
                <a:spcPct val="0"/>
              </a:spcBef>
            </a:pPr>
            <a:endParaRPr lang="de-DE" altLang="de-DE" sz="1600" dirty="0"/>
          </a:p>
          <a:p>
            <a:endParaRPr lang="de-DE" dirty="0"/>
          </a:p>
        </p:txBody>
      </p:sp>
      <p:pic>
        <p:nvPicPr>
          <p:cNvPr id="2" name="Audio 1">
            <a:hlinkClick r:id="" action="ppaction://media"/>
          </p:cNvPr>
          <p:cNvPicPr>
            <a:picLocks noChangeAspect="1"/>
          </p:cNvPicPr>
          <p:nvPr>
            <a:audi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5"/>
          <a:stretch>
            <a:fillRect/>
          </a:stretch>
        </p:blipFill>
        <p:spPr>
          <a:xfrm>
            <a:off x="11488738" y="6154738"/>
            <a:ext cx="487362" cy="4873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919188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17373"/>
    </mc:Choice>
    <mc:Fallback xmlns="">
      <p:transition spd="slow" advTm="17373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 isNarration="1">
              <p:cMediaNode vol="80000" showWhenStopped="0">
                <p:cTn id="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2"/>
                </p:tgtEl>
              </p:cMediaNode>
            </p:audio>
          </p:childTnLst>
        </p:cTn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 8">
            <a:extLst>
              <a:ext uri="{FF2B5EF4-FFF2-40B4-BE49-F238E27FC236}">
                <a16:creationId xmlns:a16="http://schemas.microsoft.com/office/drawing/2014/main" xmlns="" id="{48D8A2D3-B443-4986-B1ED-38333861808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e-DE" dirty="0" smtClean="0">
                <a:solidFill>
                  <a:srgbClr val="343434"/>
                </a:solidFill>
              </a:rPr>
              <a:t>English </a:t>
            </a:r>
            <a:r>
              <a:rPr lang="de-DE" dirty="0" smtClean="0">
                <a:solidFill>
                  <a:srgbClr val="343434"/>
                </a:solidFill>
              </a:rPr>
              <a:t>III</a:t>
            </a:r>
            <a:endParaRPr lang="de-DE" dirty="0">
              <a:solidFill>
                <a:srgbClr val="343434"/>
              </a:solidFill>
            </a:endParaRPr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xmlns="" id="{18B4579A-4238-40E2-906C-8E6A9538D842}"/>
              </a:ext>
            </a:extLst>
          </p:cNvPr>
          <p:cNvSpPr txBox="1">
            <a:spLocks/>
          </p:cNvSpPr>
          <p:nvPr/>
        </p:nvSpPr>
        <p:spPr>
          <a:xfrm>
            <a:off x="852784" y="1889341"/>
            <a:ext cx="4883782" cy="330864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IN" sz="2000" b="1" kern="1200" baseline="0" dirty="0">
                <a:solidFill>
                  <a:srgbClr val="002B6A"/>
                </a:solidFill>
                <a:latin typeface="Roboto Cn" pitchFamily="2" charset="0"/>
                <a:ea typeface="Roboto Cn" pitchFamily="2" charset="0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rgbClr val="FFFFFF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+mn-cs"/>
              </a:defRPr>
            </a:lvl2pPr>
            <a:lvl3pPr marL="914400" marR="0" indent="0" algn="ctr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kern="1200">
                <a:solidFill>
                  <a:srgbClr val="FFFFFF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rgbClr val="FFFFFF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rgbClr val="FFFFFF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1800" dirty="0" smtClean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Course content</a:t>
            </a:r>
            <a:endParaRPr lang="en-US" sz="1800" dirty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11" name="Textplatzhalter 5">
            <a:extLst>
              <a:ext uri="{FF2B5EF4-FFF2-40B4-BE49-F238E27FC236}">
                <a16:creationId xmlns:a16="http://schemas.microsoft.com/office/drawing/2014/main" xmlns="" id="{07259BD0-8F46-453D-852A-6EDA7FC8F2F5}"/>
              </a:ext>
            </a:extLst>
          </p:cNvPr>
          <p:cNvSpPr txBox="1">
            <a:spLocks/>
          </p:cNvSpPr>
          <p:nvPr/>
        </p:nvSpPr>
        <p:spPr>
          <a:xfrm>
            <a:off x="821018" y="2363637"/>
            <a:ext cx="4639504" cy="3597215"/>
          </a:xfrm>
          <a:prstGeom prst="rect">
            <a:avLst/>
          </a:prstGeom>
        </p:spPr>
        <p:txBody>
          <a:bodyPr/>
          <a:lstStyle>
            <a:lvl1pPr marL="285750" indent="-285750" algn="ctr" defTabSz="914400" rtl="0" eaLnBrk="1" latinLnBrk="0" hangingPunct="1">
              <a:lnSpc>
                <a:spcPts val="2400"/>
              </a:lnSpc>
              <a:spcBef>
                <a:spcPts val="1000"/>
              </a:spcBef>
              <a:buSzPct val="65000"/>
              <a:buFontTx/>
              <a:buBlip>
                <a:blip r:embed="rId5"/>
              </a:buBlip>
              <a:tabLst>
                <a:tab pos="1704975" algn="l"/>
              </a:tabLst>
              <a:defRPr lang="de-DE" sz="1600" kern="1200" dirty="0" err="1" smtClean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lang="de-DE" sz="1600" kern="1200" dirty="0" smtClean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+mn-cs"/>
              </a:defRPr>
            </a:lvl2pPr>
            <a:lvl3pPr marL="914400" marR="0" indent="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de-DE" sz="1600" kern="1200" dirty="0" smtClean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lang="de-DE" sz="1600" kern="1200" dirty="0" smtClean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lang="de-DE" sz="1600" kern="12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lnSpc>
                <a:spcPct val="150000"/>
              </a:lnSpc>
              <a:spcBef>
                <a:spcPct val="0"/>
              </a:spcBef>
            </a:pPr>
            <a:r>
              <a:rPr lang="de-DE" altLang="de-DE" dirty="0" smtClean="0">
                <a:solidFill>
                  <a:schemeClr val="bg1">
                    <a:lumMod val="50000"/>
                  </a:schemeClr>
                </a:solidFill>
                <a:cs typeface="Roboto Condensed" panose="02000000000000000000" pitchFamily="2" charset="0"/>
              </a:rPr>
              <a:t>- </a:t>
            </a:r>
            <a:r>
              <a:rPr lang="de-DE" altLang="de-DE" sz="1800" b="1" dirty="0" smtClean="0">
                <a:solidFill>
                  <a:schemeClr val="bg1"/>
                </a:solidFill>
                <a:cs typeface="Roboto Condensed" panose="02000000000000000000" pitchFamily="2" charset="0"/>
              </a:rPr>
              <a:t> </a:t>
            </a:r>
            <a:r>
              <a:rPr lang="de-DE" altLang="de-DE" sz="1800" dirty="0" err="1">
                <a:solidFill>
                  <a:schemeClr val="bg1"/>
                </a:solidFill>
                <a:cs typeface="Roboto Condensed" panose="02000000000000000000" pitchFamily="2" charset="0"/>
              </a:rPr>
              <a:t>opening</a:t>
            </a:r>
            <a:r>
              <a:rPr lang="de-DE" altLang="de-DE" sz="1800" dirty="0">
                <a:solidFill>
                  <a:schemeClr val="bg1"/>
                </a:solidFill>
                <a:cs typeface="Roboto Condensed" panose="02000000000000000000" pitchFamily="2" charset="0"/>
              </a:rPr>
              <a:t> </a:t>
            </a:r>
            <a:r>
              <a:rPr lang="de-DE" altLang="de-DE" sz="1800" dirty="0" err="1">
                <a:solidFill>
                  <a:schemeClr val="bg1"/>
                </a:solidFill>
                <a:cs typeface="Roboto Condensed" panose="02000000000000000000" pitchFamily="2" charset="0"/>
              </a:rPr>
              <a:t>and</a:t>
            </a:r>
            <a:r>
              <a:rPr lang="de-DE" altLang="de-DE" sz="1800" dirty="0">
                <a:solidFill>
                  <a:schemeClr val="bg1"/>
                </a:solidFill>
                <a:cs typeface="Roboto Condensed" panose="02000000000000000000" pitchFamily="2" charset="0"/>
              </a:rPr>
              <a:t> </a:t>
            </a:r>
            <a:r>
              <a:rPr lang="de-DE" altLang="de-DE" sz="1800" dirty="0" err="1">
                <a:solidFill>
                  <a:schemeClr val="bg1"/>
                </a:solidFill>
                <a:cs typeface="Roboto Condensed" panose="02000000000000000000" pitchFamily="2" charset="0"/>
              </a:rPr>
              <a:t>closing</a:t>
            </a:r>
            <a:endParaRPr lang="de-DE" altLang="de-DE" sz="1800" dirty="0">
              <a:solidFill>
                <a:schemeClr val="bg1"/>
              </a:solidFill>
              <a:cs typeface="Roboto Condensed" panose="02000000000000000000" pitchFamily="2" charset="0"/>
            </a:endParaRPr>
          </a:p>
          <a:p>
            <a:pPr lvl="1">
              <a:lnSpc>
                <a:spcPct val="150000"/>
              </a:lnSpc>
              <a:spcBef>
                <a:spcPct val="0"/>
              </a:spcBef>
            </a:pPr>
            <a:r>
              <a:rPr lang="de-DE" altLang="de-DE" sz="1800" dirty="0" smtClean="0">
                <a:solidFill>
                  <a:schemeClr val="bg1"/>
                </a:solidFill>
                <a:cs typeface="Roboto Condensed" panose="02000000000000000000" pitchFamily="2" charset="0"/>
              </a:rPr>
              <a:t>- </a:t>
            </a:r>
            <a:r>
              <a:rPr lang="de-DE" altLang="de-DE" sz="1800" dirty="0" err="1" smtClean="0">
                <a:solidFill>
                  <a:schemeClr val="bg1"/>
                </a:solidFill>
                <a:cs typeface="Roboto Condensed" panose="02000000000000000000" pitchFamily="2" charset="0"/>
              </a:rPr>
              <a:t>clear</a:t>
            </a:r>
            <a:r>
              <a:rPr lang="de-DE" altLang="de-DE" sz="1800" dirty="0" smtClean="0">
                <a:solidFill>
                  <a:schemeClr val="bg1"/>
                </a:solidFill>
                <a:cs typeface="Roboto Condensed" panose="02000000000000000000" pitchFamily="2" charset="0"/>
              </a:rPr>
              <a:t> </a:t>
            </a:r>
            <a:r>
              <a:rPr lang="de-DE" altLang="de-DE" sz="1800" dirty="0" err="1">
                <a:solidFill>
                  <a:schemeClr val="bg1"/>
                </a:solidFill>
                <a:cs typeface="Roboto Condensed" panose="02000000000000000000" pitchFamily="2" charset="0"/>
              </a:rPr>
              <a:t>structure</a:t>
            </a:r>
            <a:r>
              <a:rPr lang="de-DE" altLang="de-DE" sz="1800" dirty="0">
                <a:solidFill>
                  <a:schemeClr val="bg1"/>
                </a:solidFill>
                <a:cs typeface="Roboto Condensed" panose="02000000000000000000" pitchFamily="2" charset="0"/>
              </a:rPr>
              <a:t> </a:t>
            </a:r>
            <a:r>
              <a:rPr lang="de-DE" altLang="de-DE" sz="1800" dirty="0" err="1">
                <a:solidFill>
                  <a:schemeClr val="bg1"/>
                </a:solidFill>
                <a:cs typeface="Roboto Condensed" panose="02000000000000000000" pitchFamily="2" charset="0"/>
              </a:rPr>
              <a:t>and</a:t>
            </a:r>
            <a:r>
              <a:rPr lang="de-DE" altLang="de-DE" sz="1800" dirty="0">
                <a:solidFill>
                  <a:schemeClr val="bg1"/>
                </a:solidFill>
                <a:cs typeface="Roboto Condensed" panose="02000000000000000000" pitchFamily="2" charset="0"/>
              </a:rPr>
              <a:t> </a:t>
            </a:r>
            <a:r>
              <a:rPr lang="de-DE" altLang="de-DE" sz="1800" dirty="0" err="1">
                <a:solidFill>
                  <a:schemeClr val="bg1"/>
                </a:solidFill>
                <a:cs typeface="Roboto Condensed" panose="02000000000000000000" pitchFamily="2" charset="0"/>
              </a:rPr>
              <a:t>signposting</a:t>
            </a:r>
            <a:r>
              <a:rPr lang="de-DE" altLang="de-DE" sz="1800" dirty="0">
                <a:solidFill>
                  <a:schemeClr val="bg1"/>
                </a:solidFill>
                <a:cs typeface="Roboto Condensed" panose="02000000000000000000" pitchFamily="2" charset="0"/>
              </a:rPr>
              <a:t> </a:t>
            </a:r>
          </a:p>
          <a:p>
            <a:pPr lvl="1">
              <a:lnSpc>
                <a:spcPct val="150000"/>
              </a:lnSpc>
              <a:spcBef>
                <a:spcPct val="0"/>
              </a:spcBef>
            </a:pPr>
            <a:r>
              <a:rPr lang="de-DE" altLang="de-DE" sz="1800" dirty="0" smtClean="0">
                <a:solidFill>
                  <a:schemeClr val="bg1"/>
                </a:solidFill>
                <a:cs typeface="Roboto Condensed" panose="02000000000000000000" pitchFamily="2" charset="0"/>
              </a:rPr>
              <a:t>- </a:t>
            </a:r>
            <a:r>
              <a:rPr lang="de-DE" altLang="de-DE" sz="1800" dirty="0" err="1" smtClean="0">
                <a:solidFill>
                  <a:schemeClr val="bg1"/>
                </a:solidFill>
                <a:cs typeface="Roboto Condensed" panose="02000000000000000000" pitchFamily="2" charset="0"/>
              </a:rPr>
              <a:t>visual</a:t>
            </a:r>
            <a:r>
              <a:rPr lang="de-DE" altLang="de-DE" sz="1800" dirty="0" smtClean="0">
                <a:solidFill>
                  <a:schemeClr val="bg1"/>
                </a:solidFill>
                <a:cs typeface="Roboto Condensed" panose="02000000000000000000" pitchFamily="2" charset="0"/>
              </a:rPr>
              <a:t> </a:t>
            </a:r>
            <a:r>
              <a:rPr lang="de-DE" altLang="de-DE" sz="1800" dirty="0" err="1">
                <a:solidFill>
                  <a:schemeClr val="bg1"/>
                </a:solidFill>
                <a:cs typeface="Roboto Condensed" panose="02000000000000000000" pitchFamily="2" charset="0"/>
              </a:rPr>
              <a:t>aids</a:t>
            </a:r>
            <a:endParaRPr lang="de-DE" altLang="de-DE" sz="1800" dirty="0">
              <a:solidFill>
                <a:schemeClr val="bg1"/>
              </a:solidFill>
              <a:cs typeface="Roboto Condensed" panose="02000000000000000000" pitchFamily="2" charset="0"/>
            </a:endParaRPr>
          </a:p>
          <a:p>
            <a:pPr lvl="1">
              <a:lnSpc>
                <a:spcPct val="150000"/>
              </a:lnSpc>
              <a:spcBef>
                <a:spcPct val="0"/>
              </a:spcBef>
            </a:pPr>
            <a:r>
              <a:rPr lang="de-DE" altLang="de-DE" sz="1800" dirty="0" smtClean="0">
                <a:solidFill>
                  <a:schemeClr val="bg1"/>
                </a:solidFill>
                <a:cs typeface="Roboto Condensed" panose="02000000000000000000" pitchFamily="2" charset="0"/>
              </a:rPr>
              <a:t>- non-verbal </a:t>
            </a:r>
            <a:r>
              <a:rPr lang="de-DE" altLang="de-DE" sz="1800" dirty="0" err="1" smtClean="0">
                <a:solidFill>
                  <a:schemeClr val="bg1"/>
                </a:solidFill>
                <a:cs typeface="Roboto Condensed" panose="02000000000000000000" pitchFamily="2" charset="0"/>
              </a:rPr>
              <a:t>communication</a:t>
            </a:r>
            <a:endParaRPr lang="de-DE" altLang="de-DE" sz="1800" dirty="0" smtClean="0">
              <a:solidFill>
                <a:schemeClr val="bg1"/>
              </a:solidFill>
              <a:cs typeface="Roboto Condensed" panose="02000000000000000000" pitchFamily="2" charset="0"/>
            </a:endParaRPr>
          </a:p>
          <a:p>
            <a:pPr lvl="1">
              <a:lnSpc>
                <a:spcPct val="150000"/>
              </a:lnSpc>
              <a:spcBef>
                <a:spcPct val="0"/>
              </a:spcBef>
            </a:pPr>
            <a:r>
              <a:rPr lang="de-DE" altLang="de-DE" sz="1800" dirty="0" smtClean="0">
                <a:solidFill>
                  <a:schemeClr val="bg1"/>
                </a:solidFill>
                <a:cs typeface="Roboto Condensed" panose="02000000000000000000" pitchFamily="2" charset="0"/>
              </a:rPr>
              <a:t>- </a:t>
            </a:r>
            <a:r>
              <a:rPr lang="de-DE" altLang="de-DE" sz="1800" dirty="0" err="1" smtClean="0">
                <a:solidFill>
                  <a:schemeClr val="bg1"/>
                </a:solidFill>
                <a:cs typeface="Roboto Condensed" panose="02000000000000000000" pitchFamily="2" charset="0"/>
              </a:rPr>
              <a:t>presenting</a:t>
            </a:r>
            <a:r>
              <a:rPr lang="de-DE" altLang="de-DE" sz="1800" dirty="0" smtClean="0">
                <a:solidFill>
                  <a:schemeClr val="bg1"/>
                </a:solidFill>
                <a:cs typeface="Roboto Condensed" panose="02000000000000000000" pitchFamily="2" charset="0"/>
              </a:rPr>
              <a:t> </a:t>
            </a:r>
            <a:r>
              <a:rPr lang="de-DE" altLang="de-DE" sz="1800" dirty="0" err="1">
                <a:solidFill>
                  <a:schemeClr val="bg1"/>
                </a:solidFill>
                <a:cs typeface="Roboto Condensed" panose="02000000000000000000" pitchFamily="2" charset="0"/>
              </a:rPr>
              <a:t>facts</a:t>
            </a:r>
            <a:r>
              <a:rPr lang="de-DE" altLang="de-DE" sz="1800" dirty="0">
                <a:solidFill>
                  <a:schemeClr val="bg1"/>
                </a:solidFill>
                <a:cs typeface="Roboto Condensed" panose="02000000000000000000" pitchFamily="2" charset="0"/>
              </a:rPr>
              <a:t> </a:t>
            </a:r>
            <a:r>
              <a:rPr lang="de-DE" altLang="de-DE" sz="1800" dirty="0" err="1">
                <a:solidFill>
                  <a:schemeClr val="bg1"/>
                </a:solidFill>
                <a:cs typeface="Roboto Condensed" panose="02000000000000000000" pitchFamily="2" charset="0"/>
              </a:rPr>
              <a:t>and</a:t>
            </a:r>
            <a:r>
              <a:rPr lang="de-DE" altLang="de-DE" sz="1800" dirty="0">
                <a:solidFill>
                  <a:schemeClr val="bg1"/>
                </a:solidFill>
                <a:cs typeface="Roboto Condensed" panose="02000000000000000000" pitchFamily="2" charset="0"/>
              </a:rPr>
              <a:t> </a:t>
            </a:r>
            <a:r>
              <a:rPr lang="de-DE" altLang="de-DE" sz="1800" dirty="0" err="1">
                <a:solidFill>
                  <a:schemeClr val="bg1"/>
                </a:solidFill>
                <a:cs typeface="Roboto Condensed" panose="02000000000000000000" pitchFamily="2" charset="0"/>
              </a:rPr>
              <a:t>figures</a:t>
            </a:r>
            <a:endParaRPr lang="de-DE" altLang="de-DE" sz="1800" dirty="0">
              <a:solidFill>
                <a:schemeClr val="bg1"/>
              </a:solidFill>
              <a:cs typeface="Roboto Condensed" panose="02000000000000000000" pitchFamily="2" charset="0"/>
            </a:endParaRPr>
          </a:p>
          <a:p>
            <a:pPr lvl="1">
              <a:lnSpc>
                <a:spcPct val="150000"/>
              </a:lnSpc>
              <a:spcBef>
                <a:spcPct val="0"/>
              </a:spcBef>
            </a:pPr>
            <a:r>
              <a:rPr lang="de-DE" altLang="de-DE" sz="1800" dirty="0" smtClean="0">
                <a:solidFill>
                  <a:schemeClr val="bg1"/>
                </a:solidFill>
                <a:cs typeface="Roboto Condensed" panose="02000000000000000000" pitchFamily="2" charset="0"/>
              </a:rPr>
              <a:t>- </a:t>
            </a:r>
            <a:r>
              <a:rPr lang="de-DE" altLang="de-DE" sz="1800" dirty="0" err="1" smtClean="0">
                <a:solidFill>
                  <a:schemeClr val="bg1"/>
                </a:solidFill>
                <a:cs typeface="Roboto Condensed" panose="02000000000000000000" pitchFamily="2" charset="0"/>
              </a:rPr>
              <a:t>question</a:t>
            </a:r>
            <a:r>
              <a:rPr lang="de-DE" altLang="de-DE" sz="1800" dirty="0" smtClean="0">
                <a:solidFill>
                  <a:schemeClr val="bg1"/>
                </a:solidFill>
                <a:cs typeface="Roboto Condensed" panose="02000000000000000000" pitchFamily="2" charset="0"/>
              </a:rPr>
              <a:t> </a:t>
            </a:r>
            <a:r>
              <a:rPr lang="de-DE" altLang="de-DE" sz="1800" dirty="0" err="1">
                <a:solidFill>
                  <a:schemeClr val="bg1"/>
                </a:solidFill>
                <a:cs typeface="Roboto Condensed" panose="02000000000000000000" pitchFamily="2" charset="0"/>
              </a:rPr>
              <a:t>and</a:t>
            </a:r>
            <a:r>
              <a:rPr lang="de-DE" altLang="de-DE" sz="1800" dirty="0">
                <a:solidFill>
                  <a:schemeClr val="bg1"/>
                </a:solidFill>
                <a:cs typeface="Roboto Condensed" panose="02000000000000000000" pitchFamily="2" charset="0"/>
              </a:rPr>
              <a:t> </a:t>
            </a:r>
            <a:r>
              <a:rPr lang="de-DE" altLang="de-DE" sz="1800" dirty="0" err="1">
                <a:solidFill>
                  <a:schemeClr val="bg1"/>
                </a:solidFill>
                <a:cs typeface="Roboto Condensed" panose="02000000000000000000" pitchFamily="2" charset="0"/>
              </a:rPr>
              <a:t>answer</a:t>
            </a:r>
            <a:r>
              <a:rPr lang="de-DE" altLang="de-DE" sz="1800" dirty="0">
                <a:solidFill>
                  <a:schemeClr val="bg1"/>
                </a:solidFill>
                <a:cs typeface="Roboto Condensed" panose="02000000000000000000" pitchFamily="2" charset="0"/>
              </a:rPr>
              <a:t> </a:t>
            </a:r>
            <a:r>
              <a:rPr lang="de-DE" altLang="de-DE" sz="1800" dirty="0" err="1">
                <a:solidFill>
                  <a:schemeClr val="bg1"/>
                </a:solidFill>
                <a:cs typeface="Roboto Condensed" panose="02000000000000000000" pitchFamily="2" charset="0"/>
              </a:rPr>
              <a:t>session</a:t>
            </a:r>
            <a:endParaRPr lang="de-DE" altLang="de-DE" sz="1800" dirty="0">
              <a:solidFill>
                <a:schemeClr val="bg1"/>
              </a:solidFill>
              <a:cs typeface="Roboto Condensed" panose="02000000000000000000" pitchFamily="2" charset="0"/>
            </a:endParaRPr>
          </a:p>
          <a:p>
            <a:pPr algn="l">
              <a:lnSpc>
                <a:spcPts val="1800"/>
              </a:lnSpc>
              <a:buFontTx/>
              <a:buChar char="-"/>
            </a:pPr>
            <a:endParaRPr lang="de-DE" dirty="0">
              <a:solidFill>
                <a:schemeClr val="bg1">
                  <a:lumMod val="50000"/>
                </a:schemeClr>
              </a:solidFill>
            </a:endParaRPr>
          </a:p>
          <a:p>
            <a:pPr algn="l">
              <a:lnSpc>
                <a:spcPts val="1800"/>
              </a:lnSpc>
              <a:buFontTx/>
              <a:buChar char="-"/>
            </a:pPr>
            <a:endParaRPr lang="de-DE" dirty="0" smtClean="0">
              <a:solidFill>
                <a:schemeClr val="bg1">
                  <a:lumMod val="50000"/>
                </a:schemeClr>
              </a:solidFill>
            </a:endParaRPr>
          </a:p>
          <a:p>
            <a:pPr algn="l">
              <a:lnSpc>
                <a:spcPts val="1800"/>
              </a:lnSpc>
              <a:buFontTx/>
              <a:buChar char="-"/>
            </a:pPr>
            <a:endParaRPr lang="de-DE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14" name="Textplatzhalter 5">
            <a:extLst>
              <a:ext uri="{FF2B5EF4-FFF2-40B4-BE49-F238E27FC236}">
                <a16:creationId xmlns:a16="http://schemas.microsoft.com/office/drawing/2014/main" xmlns="" id="{E483239E-B7FF-4473-BEC7-2F375E16713D}"/>
              </a:ext>
            </a:extLst>
          </p:cNvPr>
          <p:cNvSpPr txBox="1">
            <a:spLocks/>
          </p:cNvSpPr>
          <p:nvPr/>
        </p:nvSpPr>
        <p:spPr>
          <a:xfrm>
            <a:off x="6096000" y="2501342"/>
            <a:ext cx="4830846" cy="2662842"/>
          </a:xfrm>
          <a:prstGeom prst="rect">
            <a:avLst/>
          </a:prstGeom>
        </p:spPr>
        <p:txBody>
          <a:bodyPr/>
          <a:lstStyle>
            <a:lvl1pPr marL="285750" indent="-285750" algn="ctr" defTabSz="914400" rtl="0" eaLnBrk="1" latinLnBrk="0" hangingPunct="1">
              <a:lnSpc>
                <a:spcPts val="2400"/>
              </a:lnSpc>
              <a:spcBef>
                <a:spcPts val="1000"/>
              </a:spcBef>
              <a:buSzPct val="65000"/>
              <a:buFontTx/>
              <a:buBlip>
                <a:blip r:embed="rId5"/>
              </a:buBlip>
              <a:tabLst>
                <a:tab pos="1704975" algn="l"/>
              </a:tabLst>
              <a:defRPr lang="de-DE" sz="1600" kern="1200" dirty="0" err="1" smtClean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lang="de-DE" sz="1600" kern="1200" dirty="0" smtClean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+mn-cs"/>
              </a:defRPr>
            </a:lvl2pPr>
            <a:lvl3pPr marL="914400" marR="0" indent="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de-DE" sz="1600" kern="1200" dirty="0" smtClean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lang="de-DE" sz="1600" kern="1200" dirty="0" smtClean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lang="de-DE" sz="1600" kern="12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ts val="1800"/>
              </a:lnSpc>
            </a:pPr>
            <a:endParaRPr lang="de-DE" dirty="0">
              <a:solidFill>
                <a:srgbClr val="343434"/>
              </a:solidFill>
            </a:endParaRPr>
          </a:p>
        </p:txBody>
      </p:sp>
      <p:sp>
        <p:nvSpPr>
          <p:cNvPr id="2" name="Textfeld 1"/>
          <p:cNvSpPr txBox="1"/>
          <p:nvPr/>
        </p:nvSpPr>
        <p:spPr>
          <a:xfrm>
            <a:off x="5328275" y="2132010"/>
            <a:ext cx="3183148" cy="369332"/>
          </a:xfrm>
          <a:prstGeom prst="rect">
            <a:avLst/>
          </a:prstGeom>
          <a:solidFill>
            <a:srgbClr val="FFFF00"/>
          </a:solidFill>
        </p:spPr>
        <p:txBody>
          <a:bodyPr wrap="square" rtlCol="0">
            <a:spAutoFit/>
          </a:bodyPr>
          <a:lstStyle/>
          <a:p>
            <a:r>
              <a:rPr lang="de-DE" dirty="0" err="1" smtClean="0">
                <a:solidFill>
                  <a:schemeClr val="bg1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Roboto Condensed" panose="02000000000000000000" pitchFamily="2" charset="0"/>
              </a:rPr>
              <a:t>always</a:t>
            </a:r>
            <a:r>
              <a:rPr lang="de-DE" dirty="0" smtClean="0">
                <a:solidFill>
                  <a:schemeClr val="bg1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Roboto Condensed" panose="02000000000000000000" pitchFamily="2" charset="0"/>
              </a:rPr>
              <a:t> in a </a:t>
            </a:r>
            <a:r>
              <a:rPr lang="de-DE" dirty="0" err="1" smtClean="0">
                <a:solidFill>
                  <a:schemeClr val="bg1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Roboto Condensed" panose="02000000000000000000" pitchFamily="2" charset="0"/>
              </a:rPr>
              <a:t>technical</a:t>
            </a:r>
            <a:r>
              <a:rPr lang="de-DE" dirty="0" smtClean="0">
                <a:solidFill>
                  <a:schemeClr val="bg1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Roboto Condensed" panose="02000000000000000000" pitchFamily="2" charset="0"/>
              </a:rPr>
              <a:t> </a:t>
            </a:r>
            <a:r>
              <a:rPr lang="de-DE" dirty="0" err="1" smtClean="0">
                <a:solidFill>
                  <a:schemeClr val="bg1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Roboto Condensed" panose="02000000000000000000" pitchFamily="2" charset="0"/>
              </a:rPr>
              <a:t>context</a:t>
            </a:r>
            <a:endParaRPr lang="de-DE" dirty="0">
              <a:solidFill>
                <a:schemeClr val="bg1"/>
              </a:solidFill>
              <a:latin typeface="Roboto Condensed" panose="02000000000000000000" pitchFamily="2" charset="0"/>
              <a:ea typeface="Roboto Condensed" panose="02000000000000000000" pitchFamily="2" charset="0"/>
              <a:cs typeface="Roboto Condensed" panose="02000000000000000000" pitchFamily="2" charset="0"/>
            </a:endParaRPr>
          </a:p>
        </p:txBody>
      </p:sp>
      <p:sp>
        <p:nvSpPr>
          <p:cNvPr id="8" name="Gleichschenkliges Dreieck 7"/>
          <p:cNvSpPr/>
          <p:nvPr/>
        </p:nvSpPr>
        <p:spPr bwMode="auto">
          <a:xfrm>
            <a:off x="5270740" y="2941607"/>
            <a:ext cx="3071004" cy="2104846"/>
          </a:xfrm>
          <a:prstGeom prst="triangle">
            <a:avLst/>
          </a:prstGeom>
          <a:solidFill>
            <a:srgbClr val="85C5FF"/>
          </a:solidFill>
          <a:ln w="28575" cap="flat" cmpd="sng" algn="ctr">
            <a:solidFill>
              <a:schemeClr val="tx1"/>
            </a:solidFill>
            <a:prstDash val="solid"/>
            <a:round/>
            <a:headEnd type="none" w="lg" len="lg"/>
            <a:tailEnd type="none" w="lg" len="lg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  <a:softEdge rad="127000"/>
          </a:effectLst>
        </p:spPr>
        <p:txBody>
          <a:bodyPr wrap="none" tIns="91440" bIns="91440" anchor="ctr"/>
          <a:lstStyle/>
          <a:p>
            <a:pPr>
              <a:defRPr/>
            </a:pPr>
            <a:endParaRPr lang="de-DE" dirty="0"/>
          </a:p>
        </p:txBody>
      </p:sp>
      <p:sp>
        <p:nvSpPr>
          <p:cNvPr id="12" name="Textfeld 4"/>
          <p:cNvSpPr txBox="1">
            <a:spLocks noChangeArrowheads="1"/>
          </p:cNvSpPr>
          <p:nvPr/>
        </p:nvSpPr>
        <p:spPr bwMode="auto">
          <a:xfrm>
            <a:off x="6265863" y="4611688"/>
            <a:ext cx="1195387" cy="339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20000"/>
              </a:spcBef>
              <a:defRPr sz="2000" b="1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buFont typeface="Wingdings" pitchFamily="2" charset="2"/>
              <a:buChar char="Ø"/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0"/>
              </a:spcBef>
            </a:pPr>
            <a:r>
              <a:rPr lang="de-DE" altLang="en-US" sz="1600" dirty="0" err="1"/>
              <a:t>practice</a:t>
            </a:r>
            <a:r>
              <a:rPr lang="de-DE" altLang="en-US" sz="1600" b="0" dirty="0"/>
              <a:t>!!!</a:t>
            </a:r>
          </a:p>
        </p:txBody>
      </p:sp>
      <p:sp>
        <p:nvSpPr>
          <p:cNvPr id="13" name="Textfeld 3"/>
          <p:cNvSpPr txBox="1">
            <a:spLocks noChangeArrowheads="1"/>
          </p:cNvSpPr>
          <p:nvPr/>
        </p:nvSpPr>
        <p:spPr bwMode="auto">
          <a:xfrm rot="3249754" flipH="1">
            <a:off x="6796882" y="3987006"/>
            <a:ext cx="1181100" cy="338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20000"/>
              </a:spcBef>
              <a:defRPr sz="2000" b="1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buFont typeface="Wingdings" pitchFamily="2" charset="2"/>
              <a:buChar char="Ø"/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0"/>
              </a:spcBef>
            </a:pPr>
            <a:r>
              <a:rPr lang="de-DE" altLang="en-US" sz="1600" dirty="0" err="1"/>
              <a:t>strategies</a:t>
            </a:r>
            <a:endParaRPr lang="de-DE" altLang="en-US" sz="1600" dirty="0"/>
          </a:p>
        </p:txBody>
      </p:sp>
      <p:sp>
        <p:nvSpPr>
          <p:cNvPr id="15" name="Textfeld 2"/>
          <p:cNvSpPr txBox="1">
            <a:spLocks noChangeArrowheads="1"/>
          </p:cNvSpPr>
          <p:nvPr/>
        </p:nvSpPr>
        <p:spPr bwMode="auto">
          <a:xfrm rot="18349160">
            <a:off x="5770563" y="3913187"/>
            <a:ext cx="1079500" cy="339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20000"/>
              </a:spcBef>
              <a:defRPr sz="2000" b="1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buFont typeface="Wingdings" pitchFamily="2" charset="2"/>
              <a:buChar char="Ø"/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0"/>
              </a:spcBef>
            </a:pPr>
            <a:r>
              <a:rPr lang="de-DE" altLang="en-US" sz="1600" dirty="0" err="1"/>
              <a:t>language</a:t>
            </a:r>
            <a:endParaRPr lang="de-DE" altLang="en-US" sz="1600" dirty="0"/>
          </a:p>
        </p:txBody>
      </p:sp>
      <p:sp>
        <p:nvSpPr>
          <p:cNvPr id="16" name="Rectangle 10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2066925" y="5429040"/>
            <a:ext cx="8486775" cy="531812"/>
          </a:xfrm>
          <a:prstGeom prst="rect">
            <a:avLst/>
          </a:prstGeom>
          <a:solidFill>
            <a:schemeClr val="tx2"/>
          </a:solidFill>
          <a:ln w="9525" algn="ctr">
            <a:solidFill>
              <a:schemeClr val="tx2"/>
            </a:solidFill>
            <a:miter lim="800000"/>
            <a:headEnd type="none" w="lg" len="lg"/>
            <a:tailEnd type="none" w="lg" len="lg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tx1"/>
                  </a:outerShdw>
                </a:effectLst>
              </a14:hiddenEffects>
            </a:ext>
          </a:extLst>
        </p:spPr>
        <p:txBody>
          <a:bodyPr anchor="ctr" anchorCtr="1"/>
          <a:lstStyle>
            <a:lvl1pPr eaLnBrk="0" hangingPunct="0">
              <a:spcBef>
                <a:spcPct val="20000"/>
              </a:spcBef>
              <a:defRPr sz="2000" b="1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buFont typeface="Wingdings" pitchFamily="2" charset="2"/>
              <a:buChar char="Ø"/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spcBef>
                <a:spcPct val="0"/>
              </a:spcBef>
            </a:pPr>
            <a:r>
              <a:rPr lang="de-DE" altLang="de-DE" sz="1600" dirty="0" err="1">
                <a:solidFill>
                  <a:schemeClr val="bg1"/>
                </a:solidFill>
              </a:rPr>
              <a:t>You</a:t>
            </a:r>
            <a:r>
              <a:rPr lang="de-DE" altLang="de-DE" sz="1600" dirty="0">
                <a:solidFill>
                  <a:schemeClr val="bg1"/>
                </a:solidFill>
              </a:rPr>
              <a:t> </a:t>
            </a:r>
            <a:r>
              <a:rPr lang="de-DE" altLang="de-DE" sz="1600" dirty="0" err="1">
                <a:solidFill>
                  <a:schemeClr val="bg1"/>
                </a:solidFill>
              </a:rPr>
              <a:t>are</a:t>
            </a:r>
            <a:r>
              <a:rPr lang="de-DE" altLang="de-DE" sz="1600" dirty="0">
                <a:solidFill>
                  <a:schemeClr val="bg1"/>
                </a:solidFill>
              </a:rPr>
              <a:t> an expert in </a:t>
            </a:r>
            <a:r>
              <a:rPr lang="de-DE" altLang="de-DE" sz="1600" dirty="0" err="1">
                <a:solidFill>
                  <a:schemeClr val="bg1"/>
                </a:solidFill>
              </a:rPr>
              <a:t>presentations</a:t>
            </a:r>
            <a:r>
              <a:rPr lang="de-DE" altLang="de-DE" sz="1600" dirty="0">
                <a:solidFill>
                  <a:schemeClr val="bg1"/>
                </a:solidFill>
              </a:rPr>
              <a:t>! </a:t>
            </a:r>
            <a:r>
              <a:rPr lang="de-DE" altLang="de-DE" sz="1600" dirty="0" err="1">
                <a:solidFill>
                  <a:schemeClr val="bg1"/>
                </a:solidFill>
              </a:rPr>
              <a:t>Put</a:t>
            </a:r>
            <a:r>
              <a:rPr lang="de-DE" altLang="de-DE" sz="1600" dirty="0">
                <a:solidFill>
                  <a:schemeClr val="bg1"/>
                </a:solidFill>
              </a:rPr>
              <a:t> </a:t>
            </a:r>
            <a:r>
              <a:rPr lang="de-DE" altLang="de-DE" sz="1600" dirty="0" err="1">
                <a:solidFill>
                  <a:schemeClr val="bg1"/>
                </a:solidFill>
              </a:rPr>
              <a:t>it</a:t>
            </a:r>
            <a:r>
              <a:rPr lang="de-DE" altLang="de-DE" sz="1600" dirty="0">
                <a:solidFill>
                  <a:schemeClr val="bg1"/>
                </a:solidFill>
              </a:rPr>
              <a:t> </a:t>
            </a:r>
            <a:r>
              <a:rPr lang="de-DE" altLang="de-DE" sz="1600" dirty="0" err="1">
                <a:solidFill>
                  <a:schemeClr val="bg1"/>
                </a:solidFill>
              </a:rPr>
              <a:t>into</a:t>
            </a:r>
            <a:r>
              <a:rPr lang="de-DE" altLang="de-DE" sz="1600" dirty="0">
                <a:solidFill>
                  <a:schemeClr val="bg1"/>
                </a:solidFill>
              </a:rPr>
              <a:t> </a:t>
            </a:r>
            <a:r>
              <a:rPr lang="de-DE" altLang="de-DE" sz="1600" dirty="0" err="1">
                <a:solidFill>
                  <a:schemeClr val="bg1"/>
                </a:solidFill>
              </a:rPr>
              <a:t>practice</a:t>
            </a:r>
            <a:r>
              <a:rPr lang="de-DE" altLang="de-DE" sz="1600" dirty="0">
                <a:solidFill>
                  <a:schemeClr val="bg1"/>
                </a:solidFill>
              </a:rPr>
              <a:t>!</a:t>
            </a:r>
          </a:p>
        </p:txBody>
      </p:sp>
      <p:pic>
        <p:nvPicPr>
          <p:cNvPr id="3" name="Audio 2">
            <a:hlinkClick r:id="" action="ppaction://media"/>
          </p:cNvPr>
          <p:cNvPicPr>
            <a:picLocks noChangeAspect="1"/>
          </p:cNvPicPr>
          <p:nvPr>
            <a:audioFile r:link="rId3"/>
            <p:extLst>
              <p:ext uri="{DAA4B4D4-6D71-4841-9C94-3DE7FCFB9230}">
                <p14:media xmlns:p14="http://schemas.microsoft.com/office/powerpoint/2010/main" r:embed="rId2"/>
              </p:ext>
            </p:extLst>
          </p:nvPr>
        </p:nvPicPr>
        <p:blipFill>
          <a:blip r:embed="rId6"/>
          <a:stretch>
            <a:fillRect/>
          </a:stretch>
        </p:blipFill>
        <p:spPr>
          <a:xfrm>
            <a:off x="11488738" y="6154738"/>
            <a:ext cx="487362" cy="4873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664971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10228"/>
    </mc:Choice>
    <mc:Fallback xmlns="">
      <p:transition spd="slow" advTm="10228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 isNarration="1">
              <p:cMediaNode vol="80000" showWhenStopped="0">
                <p:cTn id="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3"/>
                </p:tgtEl>
              </p:cMediaNode>
            </p:audio>
          </p:childTnLst>
        </p:cTn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 8">
            <a:extLst>
              <a:ext uri="{FF2B5EF4-FFF2-40B4-BE49-F238E27FC236}">
                <a16:creationId xmlns:a16="http://schemas.microsoft.com/office/drawing/2014/main" xmlns="" id="{48D8A2D3-B443-4986-B1ED-38333861808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e-DE" dirty="0" smtClean="0">
                <a:solidFill>
                  <a:srgbClr val="343434"/>
                </a:solidFill>
              </a:rPr>
              <a:t>English </a:t>
            </a:r>
            <a:r>
              <a:rPr lang="de-DE" dirty="0" smtClean="0">
                <a:solidFill>
                  <a:srgbClr val="343434"/>
                </a:solidFill>
              </a:rPr>
              <a:t>III</a:t>
            </a:r>
            <a:endParaRPr lang="de-DE" dirty="0">
              <a:solidFill>
                <a:srgbClr val="343434"/>
              </a:solidFill>
            </a:endParaRPr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xmlns="" id="{18B4579A-4238-40E2-906C-8E6A9538D842}"/>
              </a:ext>
            </a:extLst>
          </p:cNvPr>
          <p:cNvSpPr txBox="1">
            <a:spLocks/>
          </p:cNvSpPr>
          <p:nvPr/>
        </p:nvSpPr>
        <p:spPr>
          <a:xfrm>
            <a:off x="852784" y="1889341"/>
            <a:ext cx="4883782" cy="330864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IN" sz="2000" b="1" kern="1200" baseline="0" dirty="0">
                <a:solidFill>
                  <a:srgbClr val="002B6A"/>
                </a:solidFill>
                <a:latin typeface="Roboto Cn" pitchFamily="2" charset="0"/>
                <a:ea typeface="Roboto Cn" pitchFamily="2" charset="0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rgbClr val="FFFFFF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+mn-cs"/>
              </a:defRPr>
            </a:lvl2pPr>
            <a:lvl3pPr marL="914400" marR="0" indent="0" algn="ctr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kern="1200">
                <a:solidFill>
                  <a:srgbClr val="FFFFFF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rgbClr val="FFFFFF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rgbClr val="FFFFFF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1800" dirty="0" smtClean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Course content</a:t>
            </a:r>
            <a:endParaRPr lang="en-US" sz="1800" dirty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11" name="Textplatzhalter 5">
            <a:extLst>
              <a:ext uri="{FF2B5EF4-FFF2-40B4-BE49-F238E27FC236}">
                <a16:creationId xmlns:a16="http://schemas.microsoft.com/office/drawing/2014/main" xmlns="" id="{07259BD0-8F46-453D-852A-6EDA7FC8F2F5}"/>
              </a:ext>
            </a:extLst>
          </p:cNvPr>
          <p:cNvSpPr txBox="1">
            <a:spLocks/>
          </p:cNvSpPr>
          <p:nvPr/>
        </p:nvSpPr>
        <p:spPr>
          <a:xfrm>
            <a:off x="821018" y="2363637"/>
            <a:ext cx="4639504" cy="3597215"/>
          </a:xfrm>
          <a:prstGeom prst="rect">
            <a:avLst/>
          </a:prstGeom>
        </p:spPr>
        <p:txBody>
          <a:bodyPr/>
          <a:lstStyle>
            <a:lvl1pPr marL="285750" indent="-285750" algn="ctr" defTabSz="914400" rtl="0" eaLnBrk="1" latinLnBrk="0" hangingPunct="1">
              <a:lnSpc>
                <a:spcPts val="2400"/>
              </a:lnSpc>
              <a:spcBef>
                <a:spcPts val="1000"/>
              </a:spcBef>
              <a:buSzPct val="65000"/>
              <a:buFontTx/>
              <a:buBlip>
                <a:blip r:embed="rId5"/>
              </a:buBlip>
              <a:tabLst>
                <a:tab pos="1704975" algn="l"/>
              </a:tabLst>
              <a:defRPr lang="de-DE" sz="1600" kern="1200" dirty="0" err="1" smtClean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lang="de-DE" sz="1600" kern="1200" dirty="0" smtClean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+mn-cs"/>
              </a:defRPr>
            </a:lvl2pPr>
            <a:lvl3pPr marL="914400" marR="0" indent="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de-DE" sz="1600" kern="1200" dirty="0" smtClean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lang="de-DE" sz="1600" kern="1200" dirty="0" smtClean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lang="de-DE" sz="1600" kern="12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lnSpc>
                <a:spcPct val="150000"/>
              </a:lnSpc>
              <a:spcBef>
                <a:spcPct val="0"/>
              </a:spcBef>
            </a:pPr>
            <a:r>
              <a:rPr lang="de-DE" altLang="de-DE" dirty="0" smtClean="0">
                <a:solidFill>
                  <a:schemeClr val="bg1">
                    <a:lumMod val="50000"/>
                  </a:schemeClr>
                </a:solidFill>
                <a:cs typeface="Roboto Condensed" panose="02000000000000000000" pitchFamily="2" charset="0"/>
              </a:rPr>
              <a:t>- </a:t>
            </a:r>
            <a:r>
              <a:rPr lang="de-DE" altLang="de-DE" sz="1800" b="1" dirty="0" smtClean="0">
                <a:solidFill>
                  <a:schemeClr val="bg1"/>
                </a:solidFill>
                <a:cs typeface="Roboto Condensed" panose="02000000000000000000" pitchFamily="2" charset="0"/>
              </a:rPr>
              <a:t> </a:t>
            </a:r>
            <a:r>
              <a:rPr lang="de-DE" altLang="de-DE" sz="1800" b="1" dirty="0" err="1">
                <a:solidFill>
                  <a:srgbClr val="FF0000"/>
                </a:solidFill>
                <a:cs typeface="Roboto Condensed" panose="02000000000000000000" pitchFamily="2" charset="0"/>
              </a:rPr>
              <a:t>opening</a:t>
            </a:r>
            <a:r>
              <a:rPr lang="de-DE" altLang="de-DE" sz="1800" b="1" dirty="0">
                <a:solidFill>
                  <a:srgbClr val="FF0000"/>
                </a:solidFill>
                <a:cs typeface="Roboto Condensed" panose="02000000000000000000" pitchFamily="2" charset="0"/>
              </a:rPr>
              <a:t> </a:t>
            </a:r>
            <a:r>
              <a:rPr lang="de-DE" altLang="de-DE" sz="1800" b="1" dirty="0" err="1">
                <a:solidFill>
                  <a:srgbClr val="FF0000"/>
                </a:solidFill>
                <a:cs typeface="Roboto Condensed" panose="02000000000000000000" pitchFamily="2" charset="0"/>
              </a:rPr>
              <a:t>and</a:t>
            </a:r>
            <a:r>
              <a:rPr lang="de-DE" altLang="de-DE" sz="1800" b="1" dirty="0">
                <a:solidFill>
                  <a:srgbClr val="FF0000"/>
                </a:solidFill>
                <a:cs typeface="Roboto Condensed" panose="02000000000000000000" pitchFamily="2" charset="0"/>
              </a:rPr>
              <a:t> </a:t>
            </a:r>
            <a:r>
              <a:rPr lang="de-DE" altLang="de-DE" sz="1800" b="1" dirty="0" err="1">
                <a:solidFill>
                  <a:srgbClr val="FF0000"/>
                </a:solidFill>
                <a:cs typeface="Roboto Condensed" panose="02000000000000000000" pitchFamily="2" charset="0"/>
              </a:rPr>
              <a:t>closing</a:t>
            </a:r>
            <a:endParaRPr lang="de-DE" altLang="de-DE" sz="1800" b="1" dirty="0">
              <a:solidFill>
                <a:srgbClr val="FF0000"/>
              </a:solidFill>
              <a:cs typeface="Roboto Condensed" panose="02000000000000000000" pitchFamily="2" charset="0"/>
            </a:endParaRPr>
          </a:p>
          <a:p>
            <a:pPr lvl="1">
              <a:lnSpc>
                <a:spcPct val="150000"/>
              </a:lnSpc>
              <a:spcBef>
                <a:spcPct val="0"/>
              </a:spcBef>
            </a:pPr>
            <a:r>
              <a:rPr lang="de-DE" altLang="de-DE" sz="1800" dirty="0" smtClean="0">
                <a:solidFill>
                  <a:schemeClr val="bg1"/>
                </a:solidFill>
                <a:cs typeface="Roboto Condensed" panose="02000000000000000000" pitchFamily="2" charset="0"/>
              </a:rPr>
              <a:t>- </a:t>
            </a:r>
            <a:r>
              <a:rPr lang="de-DE" altLang="de-DE" sz="1800" dirty="0" err="1" smtClean="0">
                <a:solidFill>
                  <a:schemeClr val="bg1"/>
                </a:solidFill>
                <a:cs typeface="Roboto Condensed" panose="02000000000000000000" pitchFamily="2" charset="0"/>
              </a:rPr>
              <a:t>clear</a:t>
            </a:r>
            <a:r>
              <a:rPr lang="de-DE" altLang="de-DE" sz="1800" dirty="0" smtClean="0">
                <a:solidFill>
                  <a:schemeClr val="bg1"/>
                </a:solidFill>
                <a:cs typeface="Roboto Condensed" panose="02000000000000000000" pitchFamily="2" charset="0"/>
              </a:rPr>
              <a:t> </a:t>
            </a:r>
            <a:r>
              <a:rPr lang="de-DE" altLang="de-DE" sz="1800" dirty="0" err="1">
                <a:solidFill>
                  <a:schemeClr val="bg1"/>
                </a:solidFill>
                <a:cs typeface="Roboto Condensed" panose="02000000000000000000" pitchFamily="2" charset="0"/>
              </a:rPr>
              <a:t>structure</a:t>
            </a:r>
            <a:r>
              <a:rPr lang="de-DE" altLang="de-DE" sz="1800" dirty="0">
                <a:solidFill>
                  <a:schemeClr val="bg1"/>
                </a:solidFill>
                <a:cs typeface="Roboto Condensed" panose="02000000000000000000" pitchFamily="2" charset="0"/>
              </a:rPr>
              <a:t> </a:t>
            </a:r>
            <a:r>
              <a:rPr lang="de-DE" altLang="de-DE" sz="1800" dirty="0" err="1">
                <a:solidFill>
                  <a:schemeClr val="bg1"/>
                </a:solidFill>
                <a:cs typeface="Roboto Condensed" panose="02000000000000000000" pitchFamily="2" charset="0"/>
              </a:rPr>
              <a:t>and</a:t>
            </a:r>
            <a:r>
              <a:rPr lang="de-DE" altLang="de-DE" sz="1800" dirty="0">
                <a:solidFill>
                  <a:schemeClr val="bg1"/>
                </a:solidFill>
                <a:cs typeface="Roboto Condensed" panose="02000000000000000000" pitchFamily="2" charset="0"/>
              </a:rPr>
              <a:t> </a:t>
            </a:r>
            <a:r>
              <a:rPr lang="de-DE" altLang="de-DE" sz="1800" dirty="0" err="1">
                <a:solidFill>
                  <a:schemeClr val="bg1"/>
                </a:solidFill>
                <a:cs typeface="Roboto Condensed" panose="02000000000000000000" pitchFamily="2" charset="0"/>
              </a:rPr>
              <a:t>signposting</a:t>
            </a:r>
            <a:r>
              <a:rPr lang="de-DE" altLang="de-DE" sz="1800" dirty="0">
                <a:solidFill>
                  <a:schemeClr val="bg1"/>
                </a:solidFill>
                <a:cs typeface="Roboto Condensed" panose="02000000000000000000" pitchFamily="2" charset="0"/>
              </a:rPr>
              <a:t> </a:t>
            </a:r>
          </a:p>
          <a:p>
            <a:pPr lvl="1">
              <a:lnSpc>
                <a:spcPct val="150000"/>
              </a:lnSpc>
              <a:spcBef>
                <a:spcPct val="0"/>
              </a:spcBef>
            </a:pPr>
            <a:r>
              <a:rPr lang="de-DE" altLang="de-DE" sz="1800" dirty="0" smtClean="0">
                <a:solidFill>
                  <a:schemeClr val="bg1"/>
                </a:solidFill>
                <a:cs typeface="Roboto Condensed" panose="02000000000000000000" pitchFamily="2" charset="0"/>
              </a:rPr>
              <a:t>- </a:t>
            </a:r>
            <a:r>
              <a:rPr lang="de-DE" altLang="de-DE" sz="1800" dirty="0" err="1" smtClean="0">
                <a:solidFill>
                  <a:schemeClr val="bg1"/>
                </a:solidFill>
                <a:cs typeface="Roboto Condensed" panose="02000000000000000000" pitchFamily="2" charset="0"/>
              </a:rPr>
              <a:t>visual</a:t>
            </a:r>
            <a:r>
              <a:rPr lang="de-DE" altLang="de-DE" sz="1800" dirty="0" smtClean="0">
                <a:solidFill>
                  <a:schemeClr val="bg1"/>
                </a:solidFill>
                <a:cs typeface="Roboto Condensed" panose="02000000000000000000" pitchFamily="2" charset="0"/>
              </a:rPr>
              <a:t> </a:t>
            </a:r>
            <a:r>
              <a:rPr lang="de-DE" altLang="de-DE" sz="1800" dirty="0" err="1">
                <a:solidFill>
                  <a:schemeClr val="bg1"/>
                </a:solidFill>
                <a:cs typeface="Roboto Condensed" panose="02000000000000000000" pitchFamily="2" charset="0"/>
              </a:rPr>
              <a:t>aids</a:t>
            </a:r>
            <a:endParaRPr lang="de-DE" altLang="de-DE" sz="1800" dirty="0">
              <a:solidFill>
                <a:schemeClr val="bg1"/>
              </a:solidFill>
              <a:cs typeface="Roboto Condensed" panose="02000000000000000000" pitchFamily="2" charset="0"/>
            </a:endParaRPr>
          </a:p>
          <a:p>
            <a:pPr lvl="1">
              <a:lnSpc>
                <a:spcPct val="150000"/>
              </a:lnSpc>
              <a:spcBef>
                <a:spcPct val="0"/>
              </a:spcBef>
            </a:pPr>
            <a:r>
              <a:rPr lang="de-DE" altLang="de-DE" sz="1800" dirty="0" smtClean="0">
                <a:solidFill>
                  <a:schemeClr val="bg1"/>
                </a:solidFill>
                <a:cs typeface="Roboto Condensed" panose="02000000000000000000" pitchFamily="2" charset="0"/>
              </a:rPr>
              <a:t>- </a:t>
            </a:r>
            <a:r>
              <a:rPr lang="de-DE" altLang="de-DE" sz="1800" b="1" dirty="0" smtClean="0">
                <a:solidFill>
                  <a:srgbClr val="FF0000"/>
                </a:solidFill>
                <a:cs typeface="Roboto Condensed" panose="02000000000000000000" pitchFamily="2" charset="0"/>
              </a:rPr>
              <a:t>non-verbal </a:t>
            </a:r>
            <a:r>
              <a:rPr lang="de-DE" altLang="de-DE" sz="1800" b="1" dirty="0" err="1" smtClean="0">
                <a:solidFill>
                  <a:srgbClr val="FF0000"/>
                </a:solidFill>
                <a:cs typeface="Roboto Condensed" panose="02000000000000000000" pitchFamily="2" charset="0"/>
              </a:rPr>
              <a:t>communication</a:t>
            </a:r>
            <a:endParaRPr lang="de-DE" altLang="de-DE" sz="1800" b="1" dirty="0" smtClean="0">
              <a:solidFill>
                <a:srgbClr val="FF0000"/>
              </a:solidFill>
              <a:cs typeface="Roboto Condensed" panose="02000000000000000000" pitchFamily="2" charset="0"/>
            </a:endParaRPr>
          </a:p>
          <a:p>
            <a:pPr lvl="1">
              <a:lnSpc>
                <a:spcPct val="150000"/>
              </a:lnSpc>
              <a:spcBef>
                <a:spcPct val="0"/>
              </a:spcBef>
            </a:pPr>
            <a:r>
              <a:rPr lang="de-DE" altLang="de-DE" sz="1800" dirty="0" smtClean="0">
                <a:solidFill>
                  <a:schemeClr val="bg1"/>
                </a:solidFill>
                <a:cs typeface="Roboto Condensed" panose="02000000000000000000" pitchFamily="2" charset="0"/>
              </a:rPr>
              <a:t>- </a:t>
            </a:r>
            <a:r>
              <a:rPr lang="de-DE" altLang="de-DE" sz="1800" dirty="0" err="1" smtClean="0">
                <a:solidFill>
                  <a:schemeClr val="bg1"/>
                </a:solidFill>
                <a:cs typeface="Roboto Condensed" panose="02000000000000000000" pitchFamily="2" charset="0"/>
              </a:rPr>
              <a:t>presenting</a:t>
            </a:r>
            <a:r>
              <a:rPr lang="de-DE" altLang="de-DE" sz="1800" dirty="0" smtClean="0">
                <a:solidFill>
                  <a:schemeClr val="bg1"/>
                </a:solidFill>
                <a:cs typeface="Roboto Condensed" panose="02000000000000000000" pitchFamily="2" charset="0"/>
              </a:rPr>
              <a:t> </a:t>
            </a:r>
            <a:r>
              <a:rPr lang="de-DE" altLang="de-DE" sz="1800" dirty="0" err="1">
                <a:solidFill>
                  <a:schemeClr val="bg1"/>
                </a:solidFill>
                <a:cs typeface="Roboto Condensed" panose="02000000000000000000" pitchFamily="2" charset="0"/>
              </a:rPr>
              <a:t>facts</a:t>
            </a:r>
            <a:r>
              <a:rPr lang="de-DE" altLang="de-DE" sz="1800" dirty="0">
                <a:solidFill>
                  <a:schemeClr val="bg1"/>
                </a:solidFill>
                <a:cs typeface="Roboto Condensed" panose="02000000000000000000" pitchFamily="2" charset="0"/>
              </a:rPr>
              <a:t> </a:t>
            </a:r>
            <a:r>
              <a:rPr lang="de-DE" altLang="de-DE" sz="1800" dirty="0" err="1">
                <a:solidFill>
                  <a:schemeClr val="bg1"/>
                </a:solidFill>
                <a:cs typeface="Roboto Condensed" panose="02000000000000000000" pitchFamily="2" charset="0"/>
              </a:rPr>
              <a:t>and</a:t>
            </a:r>
            <a:r>
              <a:rPr lang="de-DE" altLang="de-DE" sz="1800" dirty="0">
                <a:solidFill>
                  <a:schemeClr val="bg1"/>
                </a:solidFill>
                <a:cs typeface="Roboto Condensed" panose="02000000000000000000" pitchFamily="2" charset="0"/>
              </a:rPr>
              <a:t> </a:t>
            </a:r>
            <a:r>
              <a:rPr lang="de-DE" altLang="de-DE" sz="1800" dirty="0" err="1">
                <a:solidFill>
                  <a:schemeClr val="bg1"/>
                </a:solidFill>
                <a:cs typeface="Roboto Condensed" panose="02000000000000000000" pitchFamily="2" charset="0"/>
              </a:rPr>
              <a:t>figures</a:t>
            </a:r>
            <a:endParaRPr lang="de-DE" altLang="de-DE" sz="1800" dirty="0">
              <a:solidFill>
                <a:schemeClr val="bg1"/>
              </a:solidFill>
              <a:cs typeface="Roboto Condensed" panose="02000000000000000000" pitchFamily="2" charset="0"/>
            </a:endParaRPr>
          </a:p>
          <a:p>
            <a:pPr lvl="1">
              <a:lnSpc>
                <a:spcPct val="150000"/>
              </a:lnSpc>
              <a:spcBef>
                <a:spcPct val="0"/>
              </a:spcBef>
            </a:pPr>
            <a:r>
              <a:rPr lang="de-DE" altLang="de-DE" sz="1800" dirty="0" smtClean="0">
                <a:solidFill>
                  <a:schemeClr val="bg1"/>
                </a:solidFill>
                <a:cs typeface="Roboto Condensed" panose="02000000000000000000" pitchFamily="2" charset="0"/>
              </a:rPr>
              <a:t>- </a:t>
            </a:r>
            <a:r>
              <a:rPr lang="de-DE" altLang="de-DE" sz="1800" b="1" dirty="0" err="1" smtClean="0">
                <a:solidFill>
                  <a:srgbClr val="FF0000"/>
                </a:solidFill>
                <a:cs typeface="Roboto Condensed" panose="02000000000000000000" pitchFamily="2" charset="0"/>
              </a:rPr>
              <a:t>question</a:t>
            </a:r>
            <a:r>
              <a:rPr lang="de-DE" altLang="de-DE" sz="1800" b="1" dirty="0" smtClean="0">
                <a:solidFill>
                  <a:srgbClr val="FF0000"/>
                </a:solidFill>
                <a:cs typeface="Roboto Condensed" panose="02000000000000000000" pitchFamily="2" charset="0"/>
              </a:rPr>
              <a:t> </a:t>
            </a:r>
            <a:r>
              <a:rPr lang="de-DE" altLang="de-DE" sz="1800" b="1" dirty="0" err="1">
                <a:solidFill>
                  <a:srgbClr val="FF0000"/>
                </a:solidFill>
                <a:cs typeface="Roboto Condensed" panose="02000000000000000000" pitchFamily="2" charset="0"/>
              </a:rPr>
              <a:t>and</a:t>
            </a:r>
            <a:r>
              <a:rPr lang="de-DE" altLang="de-DE" sz="1800" b="1" dirty="0">
                <a:solidFill>
                  <a:srgbClr val="FF0000"/>
                </a:solidFill>
                <a:cs typeface="Roboto Condensed" panose="02000000000000000000" pitchFamily="2" charset="0"/>
              </a:rPr>
              <a:t> </a:t>
            </a:r>
            <a:r>
              <a:rPr lang="de-DE" altLang="de-DE" sz="1800" b="1" dirty="0" err="1">
                <a:solidFill>
                  <a:srgbClr val="FF0000"/>
                </a:solidFill>
                <a:cs typeface="Roboto Condensed" panose="02000000000000000000" pitchFamily="2" charset="0"/>
              </a:rPr>
              <a:t>answer</a:t>
            </a:r>
            <a:r>
              <a:rPr lang="de-DE" altLang="de-DE" sz="1800" b="1" dirty="0">
                <a:solidFill>
                  <a:srgbClr val="FF0000"/>
                </a:solidFill>
                <a:cs typeface="Roboto Condensed" panose="02000000000000000000" pitchFamily="2" charset="0"/>
              </a:rPr>
              <a:t> </a:t>
            </a:r>
            <a:r>
              <a:rPr lang="de-DE" altLang="de-DE" sz="1800" b="1" dirty="0" err="1">
                <a:solidFill>
                  <a:srgbClr val="FF0000"/>
                </a:solidFill>
                <a:cs typeface="Roboto Condensed" panose="02000000000000000000" pitchFamily="2" charset="0"/>
              </a:rPr>
              <a:t>session</a:t>
            </a:r>
            <a:endParaRPr lang="de-DE" altLang="de-DE" sz="1800" b="1" dirty="0">
              <a:solidFill>
                <a:srgbClr val="FF0000"/>
              </a:solidFill>
              <a:cs typeface="Roboto Condensed" panose="02000000000000000000" pitchFamily="2" charset="0"/>
            </a:endParaRPr>
          </a:p>
          <a:p>
            <a:pPr algn="l">
              <a:lnSpc>
                <a:spcPts val="1800"/>
              </a:lnSpc>
              <a:buFontTx/>
              <a:buChar char="-"/>
            </a:pPr>
            <a:endParaRPr lang="de-DE" dirty="0">
              <a:solidFill>
                <a:schemeClr val="bg1">
                  <a:lumMod val="50000"/>
                </a:schemeClr>
              </a:solidFill>
            </a:endParaRPr>
          </a:p>
          <a:p>
            <a:pPr algn="l">
              <a:lnSpc>
                <a:spcPts val="1800"/>
              </a:lnSpc>
              <a:buFontTx/>
              <a:buChar char="-"/>
            </a:pPr>
            <a:endParaRPr lang="de-DE" dirty="0" smtClean="0">
              <a:solidFill>
                <a:schemeClr val="bg1">
                  <a:lumMod val="50000"/>
                </a:schemeClr>
              </a:solidFill>
            </a:endParaRPr>
          </a:p>
          <a:p>
            <a:pPr algn="l">
              <a:lnSpc>
                <a:spcPts val="1800"/>
              </a:lnSpc>
              <a:buFontTx/>
              <a:buChar char="-"/>
            </a:pPr>
            <a:endParaRPr lang="de-DE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14" name="Textplatzhalter 5">
            <a:extLst>
              <a:ext uri="{FF2B5EF4-FFF2-40B4-BE49-F238E27FC236}">
                <a16:creationId xmlns:a16="http://schemas.microsoft.com/office/drawing/2014/main" xmlns="" id="{E483239E-B7FF-4473-BEC7-2F375E16713D}"/>
              </a:ext>
            </a:extLst>
          </p:cNvPr>
          <p:cNvSpPr txBox="1">
            <a:spLocks/>
          </p:cNvSpPr>
          <p:nvPr/>
        </p:nvSpPr>
        <p:spPr>
          <a:xfrm>
            <a:off x="6096000" y="2501342"/>
            <a:ext cx="4830846" cy="2662842"/>
          </a:xfrm>
          <a:prstGeom prst="rect">
            <a:avLst/>
          </a:prstGeom>
        </p:spPr>
        <p:txBody>
          <a:bodyPr/>
          <a:lstStyle>
            <a:lvl1pPr marL="285750" indent="-285750" algn="ctr" defTabSz="914400" rtl="0" eaLnBrk="1" latinLnBrk="0" hangingPunct="1">
              <a:lnSpc>
                <a:spcPts val="2400"/>
              </a:lnSpc>
              <a:spcBef>
                <a:spcPts val="1000"/>
              </a:spcBef>
              <a:buSzPct val="65000"/>
              <a:buFontTx/>
              <a:buBlip>
                <a:blip r:embed="rId5"/>
              </a:buBlip>
              <a:tabLst>
                <a:tab pos="1704975" algn="l"/>
              </a:tabLst>
              <a:defRPr lang="de-DE" sz="1600" kern="1200" dirty="0" err="1" smtClean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lang="de-DE" sz="1600" kern="1200" dirty="0" smtClean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+mn-cs"/>
              </a:defRPr>
            </a:lvl2pPr>
            <a:lvl3pPr marL="914400" marR="0" indent="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de-DE" sz="1600" kern="1200" dirty="0" smtClean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lang="de-DE" sz="1600" kern="1200" dirty="0" smtClean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lang="de-DE" sz="1600" kern="12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ts val="1800"/>
              </a:lnSpc>
            </a:pPr>
            <a:endParaRPr lang="de-DE" dirty="0">
              <a:solidFill>
                <a:srgbClr val="343434"/>
              </a:solidFill>
            </a:endParaRPr>
          </a:p>
        </p:txBody>
      </p:sp>
      <p:sp>
        <p:nvSpPr>
          <p:cNvPr id="2" name="Textfeld 1"/>
          <p:cNvSpPr txBox="1"/>
          <p:nvPr/>
        </p:nvSpPr>
        <p:spPr>
          <a:xfrm>
            <a:off x="5328275" y="2132010"/>
            <a:ext cx="3183148" cy="369332"/>
          </a:xfrm>
          <a:prstGeom prst="rect">
            <a:avLst/>
          </a:prstGeom>
          <a:solidFill>
            <a:srgbClr val="FFFF00"/>
          </a:solidFill>
        </p:spPr>
        <p:txBody>
          <a:bodyPr wrap="square" rtlCol="0">
            <a:spAutoFit/>
          </a:bodyPr>
          <a:lstStyle/>
          <a:p>
            <a:r>
              <a:rPr lang="de-DE" dirty="0" err="1" smtClean="0">
                <a:solidFill>
                  <a:schemeClr val="bg1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Roboto Condensed" panose="02000000000000000000" pitchFamily="2" charset="0"/>
              </a:rPr>
              <a:t>always</a:t>
            </a:r>
            <a:r>
              <a:rPr lang="de-DE" dirty="0" smtClean="0">
                <a:solidFill>
                  <a:schemeClr val="bg1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Roboto Condensed" panose="02000000000000000000" pitchFamily="2" charset="0"/>
              </a:rPr>
              <a:t> in a </a:t>
            </a:r>
            <a:r>
              <a:rPr lang="de-DE" dirty="0" err="1" smtClean="0">
                <a:solidFill>
                  <a:schemeClr val="bg1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Roboto Condensed" panose="02000000000000000000" pitchFamily="2" charset="0"/>
              </a:rPr>
              <a:t>technical</a:t>
            </a:r>
            <a:r>
              <a:rPr lang="de-DE" dirty="0" smtClean="0">
                <a:solidFill>
                  <a:schemeClr val="bg1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Roboto Condensed" panose="02000000000000000000" pitchFamily="2" charset="0"/>
              </a:rPr>
              <a:t> </a:t>
            </a:r>
            <a:r>
              <a:rPr lang="de-DE" dirty="0" err="1" smtClean="0">
                <a:solidFill>
                  <a:schemeClr val="bg1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Roboto Condensed" panose="02000000000000000000" pitchFamily="2" charset="0"/>
              </a:rPr>
              <a:t>context</a:t>
            </a:r>
            <a:endParaRPr lang="de-DE" dirty="0">
              <a:solidFill>
                <a:schemeClr val="bg1"/>
              </a:solidFill>
              <a:latin typeface="Roboto Condensed" panose="02000000000000000000" pitchFamily="2" charset="0"/>
              <a:ea typeface="Roboto Condensed" panose="02000000000000000000" pitchFamily="2" charset="0"/>
              <a:cs typeface="Roboto Condensed" panose="02000000000000000000" pitchFamily="2" charset="0"/>
            </a:endParaRPr>
          </a:p>
        </p:txBody>
      </p:sp>
      <p:sp>
        <p:nvSpPr>
          <p:cNvPr id="8" name="Gleichschenkliges Dreieck 7"/>
          <p:cNvSpPr/>
          <p:nvPr/>
        </p:nvSpPr>
        <p:spPr bwMode="auto">
          <a:xfrm>
            <a:off x="5270740" y="2941607"/>
            <a:ext cx="3071004" cy="2104846"/>
          </a:xfrm>
          <a:prstGeom prst="triangle">
            <a:avLst/>
          </a:prstGeom>
          <a:solidFill>
            <a:srgbClr val="85C5FF"/>
          </a:solidFill>
          <a:ln w="28575" cap="flat" cmpd="sng" algn="ctr">
            <a:solidFill>
              <a:schemeClr val="tx1"/>
            </a:solidFill>
            <a:prstDash val="solid"/>
            <a:round/>
            <a:headEnd type="none" w="lg" len="lg"/>
            <a:tailEnd type="none" w="lg" len="lg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  <a:softEdge rad="127000"/>
          </a:effectLst>
        </p:spPr>
        <p:txBody>
          <a:bodyPr wrap="none" tIns="91440" bIns="91440" anchor="ctr"/>
          <a:lstStyle/>
          <a:p>
            <a:pPr>
              <a:defRPr/>
            </a:pPr>
            <a:endParaRPr lang="de-DE" dirty="0"/>
          </a:p>
        </p:txBody>
      </p:sp>
      <p:sp>
        <p:nvSpPr>
          <p:cNvPr id="12" name="Textfeld 4"/>
          <p:cNvSpPr txBox="1">
            <a:spLocks noChangeArrowheads="1"/>
          </p:cNvSpPr>
          <p:nvPr/>
        </p:nvSpPr>
        <p:spPr bwMode="auto">
          <a:xfrm>
            <a:off x="6265863" y="4611688"/>
            <a:ext cx="1195387" cy="339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20000"/>
              </a:spcBef>
              <a:defRPr sz="2000" b="1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buFont typeface="Wingdings" pitchFamily="2" charset="2"/>
              <a:buChar char="Ø"/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0"/>
              </a:spcBef>
            </a:pPr>
            <a:r>
              <a:rPr lang="de-DE" altLang="en-US" sz="1600" dirty="0" err="1"/>
              <a:t>practice</a:t>
            </a:r>
            <a:r>
              <a:rPr lang="de-DE" altLang="en-US" sz="1600" b="0" dirty="0"/>
              <a:t>!!!</a:t>
            </a:r>
          </a:p>
        </p:txBody>
      </p:sp>
      <p:sp>
        <p:nvSpPr>
          <p:cNvPr id="13" name="Textfeld 3"/>
          <p:cNvSpPr txBox="1">
            <a:spLocks noChangeArrowheads="1"/>
          </p:cNvSpPr>
          <p:nvPr/>
        </p:nvSpPr>
        <p:spPr bwMode="auto">
          <a:xfrm rot="3249754" flipH="1">
            <a:off x="6796882" y="3987006"/>
            <a:ext cx="1181100" cy="338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20000"/>
              </a:spcBef>
              <a:defRPr sz="2000" b="1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buFont typeface="Wingdings" pitchFamily="2" charset="2"/>
              <a:buChar char="Ø"/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0"/>
              </a:spcBef>
            </a:pPr>
            <a:r>
              <a:rPr lang="de-DE" altLang="en-US" sz="1600" dirty="0" err="1"/>
              <a:t>strategies</a:t>
            </a:r>
            <a:endParaRPr lang="de-DE" altLang="en-US" sz="1600" dirty="0"/>
          </a:p>
        </p:txBody>
      </p:sp>
      <p:sp>
        <p:nvSpPr>
          <p:cNvPr id="15" name="Textfeld 2"/>
          <p:cNvSpPr txBox="1">
            <a:spLocks noChangeArrowheads="1"/>
          </p:cNvSpPr>
          <p:nvPr/>
        </p:nvSpPr>
        <p:spPr bwMode="auto">
          <a:xfrm rot="18349160">
            <a:off x="5770563" y="3913187"/>
            <a:ext cx="1079500" cy="339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20000"/>
              </a:spcBef>
              <a:defRPr sz="2000" b="1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buFont typeface="Wingdings" pitchFamily="2" charset="2"/>
              <a:buChar char="Ø"/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0"/>
              </a:spcBef>
            </a:pPr>
            <a:r>
              <a:rPr lang="de-DE" altLang="en-US" sz="1600" dirty="0" err="1"/>
              <a:t>language</a:t>
            </a:r>
            <a:endParaRPr lang="de-DE" altLang="en-US" sz="1600" dirty="0"/>
          </a:p>
        </p:txBody>
      </p:sp>
      <p:sp>
        <p:nvSpPr>
          <p:cNvPr id="16" name="Rectangle 10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2066925" y="5429040"/>
            <a:ext cx="8486775" cy="531812"/>
          </a:xfrm>
          <a:prstGeom prst="rect">
            <a:avLst/>
          </a:prstGeom>
          <a:solidFill>
            <a:schemeClr val="tx2"/>
          </a:solidFill>
          <a:ln w="9525" algn="ctr">
            <a:solidFill>
              <a:schemeClr val="tx2"/>
            </a:solidFill>
            <a:miter lim="800000"/>
            <a:headEnd type="none" w="lg" len="lg"/>
            <a:tailEnd type="none" w="lg" len="lg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tx1"/>
                  </a:outerShdw>
                </a:effectLst>
              </a14:hiddenEffects>
            </a:ext>
          </a:extLst>
        </p:spPr>
        <p:txBody>
          <a:bodyPr anchor="ctr" anchorCtr="1"/>
          <a:lstStyle>
            <a:lvl1pPr eaLnBrk="0" hangingPunct="0">
              <a:spcBef>
                <a:spcPct val="20000"/>
              </a:spcBef>
              <a:defRPr sz="2000" b="1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buFont typeface="Wingdings" pitchFamily="2" charset="2"/>
              <a:buChar char="Ø"/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spcBef>
                <a:spcPct val="0"/>
              </a:spcBef>
            </a:pPr>
            <a:r>
              <a:rPr lang="de-DE" altLang="de-DE" sz="1600" dirty="0" err="1">
                <a:solidFill>
                  <a:schemeClr val="bg1"/>
                </a:solidFill>
              </a:rPr>
              <a:t>You</a:t>
            </a:r>
            <a:r>
              <a:rPr lang="de-DE" altLang="de-DE" sz="1600" dirty="0">
                <a:solidFill>
                  <a:schemeClr val="bg1"/>
                </a:solidFill>
              </a:rPr>
              <a:t> </a:t>
            </a:r>
            <a:r>
              <a:rPr lang="de-DE" altLang="de-DE" sz="1600" dirty="0" err="1">
                <a:solidFill>
                  <a:schemeClr val="bg1"/>
                </a:solidFill>
              </a:rPr>
              <a:t>are</a:t>
            </a:r>
            <a:r>
              <a:rPr lang="de-DE" altLang="de-DE" sz="1600" dirty="0">
                <a:solidFill>
                  <a:schemeClr val="bg1"/>
                </a:solidFill>
              </a:rPr>
              <a:t> an expert in </a:t>
            </a:r>
            <a:r>
              <a:rPr lang="de-DE" altLang="de-DE" sz="1600" dirty="0" err="1">
                <a:solidFill>
                  <a:schemeClr val="bg1"/>
                </a:solidFill>
              </a:rPr>
              <a:t>presentations</a:t>
            </a:r>
            <a:r>
              <a:rPr lang="de-DE" altLang="de-DE" sz="1600" dirty="0">
                <a:solidFill>
                  <a:schemeClr val="bg1"/>
                </a:solidFill>
              </a:rPr>
              <a:t>! </a:t>
            </a:r>
            <a:r>
              <a:rPr lang="de-DE" altLang="de-DE" sz="1600" dirty="0" err="1">
                <a:solidFill>
                  <a:schemeClr val="bg1"/>
                </a:solidFill>
              </a:rPr>
              <a:t>Put</a:t>
            </a:r>
            <a:r>
              <a:rPr lang="de-DE" altLang="de-DE" sz="1600" dirty="0">
                <a:solidFill>
                  <a:schemeClr val="bg1"/>
                </a:solidFill>
              </a:rPr>
              <a:t> </a:t>
            </a:r>
            <a:r>
              <a:rPr lang="de-DE" altLang="de-DE" sz="1600" dirty="0" err="1">
                <a:solidFill>
                  <a:schemeClr val="bg1"/>
                </a:solidFill>
              </a:rPr>
              <a:t>it</a:t>
            </a:r>
            <a:r>
              <a:rPr lang="de-DE" altLang="de-DE" sz="1600" dirty="0">
                <a:solidFill>
                  <a:schemeClr val="bg1"/>
                </a:solidFill>
              </a:rPr>
              <a:t> </a:t>
            </a:r>
            <a:r>
              <a:rPr lang="de-DE" altLang="de-DE" sz="1600" dirty="0" err="1">
                <a:solidFill>
                  <a:schemeClr val="bg1"/>
                </a:solidFill>
              </a:rPr>
              <a:t>into</a:t>
            </a:r>
            <a:r>
              <a:rPr lang="de-DE" altLang="de-DE" sz="1600" dirty="0">
                <a:solidFill>
                  <a:schemeClr val="bg1"/>
                </a:solidFill>
              </a:rPr>
              <a:t> </a:t>
            </a:r>
            <a:r>
              <a:rPr lang="de-DE" altLang="de-DE" sz="1600" dirty="0" err="1">
                <a:solidFill>
                  <a:schemeClr val="bg1"/>
                </a:solidFill>
              </a:rPr>
              <a:t>practice</a:t>
            </a:r>
            <a:r>
              <a:rPr lang="de-DE" altLang="de-DE" sz="1600" dirty="0">
                <a:solidFill>
                  <a:schemeClr val="bg1"/>
                </a:solidFill>
              </a:rPr>
              <a:t>!</a:t>
            </a:r>
          </a:p>
        </p:txBody>
      </p:sp>
      <p:sp>
        <p:nvSpPr>
          <p:cNvPr id="18" name="Freeform 4"/>
          <p:cNvSpPr>
            <a:spLocks/>
          </p:cNvSpPr>
          <p:nvPr/>
        </p:nvSpPr>
        <p:spPr bwMode="gray">
          <a:xfrm>
            <a:off x="2751827" y="1603376"/>
            <a:ext cx="7939866" cy="528634"/>
          </a:xfrm>
          <a:custGeom>
            <a:avLst/>
            <a:gdLst>
              <a:gd name="T0" fmla="*/ 0 w 5348"/>
              <a:gd name="T1" fmla="*/ 340 h 342"/>
              <a:gd name="T2" fmla="*/ 8 w 5348"/>
              <a:gd name="T3" fmla="*/ 281 h 342"/>
              <a:gd name="T4" fmla="*/ 12 w 5348"/>
              <a:gd name="T5" fmla="*/ 256 h 342"/>
              <a:gd name="T6" fmla="*/ 19 w 5348"/>
              <a:gd name="T7" fmla="*/ 226 h 342"/>
              <a:gd name="T8" fmla="*/ 28 w 5348"/>
              <a:gd name="T9" fmla="*/ 202 h 342"/>
              <a:gd name="T10" fmla="*/ 36 w 5348"/>
              <a:gd name="T11" fmla="*/ 181 h 342"/>
              <a:gd name="T12" fmla="*/ 43 w 5348"/>
              <a:gd name="T13" fmla="*/ 165 h 342"/>
              <a:gd name="T14" fmla="*/ 54 w 5348"/>
              <a:gd name="T15" fmla="*/ 145 h 342"/>
              <a:gd name="T16" fmla="*/ 81 w 5348"/>
              <a:gd name="T17" fmla="*/ 105 h 342"/>
              <a:gd name="T18" fmla="*/ 117 w 5348"/>
              <a:gd name="T19" fmla="*/ 70 h 342"/>
              <a:gd name="T20" fmla="*/ 157 w 5348"/>
              <a:gd name="T21" fmla="*/ 45 h 342"/>
              <a:gd name="T22" fmla="*/ 207 w 5348"/>
              <a:gd name="T23" fmla="*/ 27 h 342"/>
              <a:gd name="T24" fmla="*/ 271 w 5348"/>
              <a:gd name="T25" fmla="*/ 13 h 342"/>
              <a:gd name="T26" fmla="*/ 326 w 5348"/>
              <a:gd name="T27" fmla="*/ 9 h 342"/>
              <a:gd name="T28" fmla="*/ 388 w 5348"/>
              <a:gd name="T29" fmla="*/ 4 h 342"/>
              <a:gd name="T30" fmla="*/ 466 w 5348"/>
              <a:gd name="T31" fmla="*/ 4 h 342"/>
              <a:gd name="T32" fmla="*/ 553 w 5348"/>
              <a:gd name="T33" fmla="*/ 3 h 342"/>
              <a:gd name="T34" fmla="*/ 635 w 5348"/>
              <a:gd name="T35" fmla="*/ 2 h 342"/>
              <a:gd name="T36" fmla="*/ 728 w 5348"/>
              <a:gd name="T37" fmla="*/ 0 h 342"/>
              <a:gd name="T38" fmla="*/ 806 w 5348"/>
              <a:gd name="T39" fmla="*/ 0 h 342"/>
              <a:gd name="T40" fmla="*/ 5396 w 5348"/>
              <a:gd name="T41" fmla="*/ 0 h 342"/>
              <a:gd name="T42" fmla="*/ 5396 w 5348"/>
              <a:gd name="T43" fmla="*/ 342 h 342"/>
              <a:gd name="T44" fmla="*/ 19 w 5348"/>
              <a:gd name="T45" fmla="*/ 342 h 342"/>
              <a:gd name="T46" fmla="*/ 0 w 5348"/>
              <a:gd name="T47" fmla="*/ 340 h 342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</a:gdLst>
            <a:ahLst/>
            <a:cxnLst>
              <a:cxn ang="T48">
                <a:pos x="T0" y="T1"/>
              </a:cxn>
              <a:cxn ang="T49">
                <a:pos x="T2" y="T3"/>
              </a:cxn>
              <a:cxn ang="T50">
                <a:pos x="T4" y="T5"/>
              </a:cxn>
              <a:cxn ang="T51">
                <a:pos x="T6" y="T7"/>
              </a:cxn>
              <a:cxn ang="T52">
                <a:pos x="T8" y="T9"/>
              </a:cxn>
              <a:cxn ang="T53">
                <a:pos x="T10" y="T11"/>
              </a:cxn>
              <a:cxn ang="T54">
                <a:pos x="T12" y="T13"/>
              </a:cxn>
              <a:cxn ang="T55">
                <a:pos x="T14" y="T15"/>
              </a:cxn>
              <a:cxn ang="T56">
                <a:pos x="T16" y="T17"/>
              </a:cxn>
              <a:cxn ang="T57">
                <a:pos x="T18" y="T19"/>
              </a:cxn>
              <a:cxn ang="T58">
                <a:pos x="T20" y="T21"/>
              </a:cxn>
              <a:cxn ang="T59">
                <a:pos x="T22" y="T23"/>
              </a:cxn>
              <a:cxn ang="T60">
                <a:pos x="T24" y="T25"/>
              </a:cxn>
              <a:cxn ang="T61">
                <a:pos x="T26" y="T27"/>
              </a:cxn>
              <a:cxn ang="T62">
                <a:pos x="T28" y="T29"/>
              </a:cxn>
              <a:cxn ang="T63">
                <a:pos x="T30" y="T31"/>
              </a:cxn>
              <a:cxn ang="T64">
                <a:pos x="T32" y="T33"/>
              </a:cxn>
              <a:cxn ang="T65">
                <a:pos x="T34" y="T35"/>
              </a:cxn>
              <a:cxn ang="T66">
                <a:pos x="T36" y="T37"/>
              </a:cxn>
              <a:cxn ang="T67">
                <a:pos x="T38" y="T39"/>
              </a:cxn>
              <a:cxn ang="T68">
                <a:pos x="T40" y="T41"/>
              </a:cxn>
              <a:cxn ang="T69">
                <a:pos x="T42" y="T43"/>
              </a:cxn>
              <a:cxn ang="T70">
                <a:pos x="T44" y="T45"/>
              </a:cxn>
              <a:cxn ang="T71">
                <a:pos x="T46" y="T47"/>
              </a:cxn>
            </a:cxnLst>
            <a:rect l="0" t="0" r="r" b="b"/>
            <a:pathLst>
              <a:path w="5348" h="342">
                <a:moveTo>
                  <a:pt x="0" y="340"/>
                </a:moveTo>
                <a:lnTo>
                  <a:pt x="8" y="281"/>
                </a:lnTo>
                <a:lnTo>
                  <a:pt x="12" y="256"/>
                </a:lnTo>
                <a:lnTo>
                  <a:pt x="19" y="226"/>
                </a:lnTo>
                <a:lnTo>
                  <a:pt x="28" y="202"/>
                </a:lnTo>
                <a:lnTo>
                  <a:pt x="36" y="181"/>
                </a:lnTo>
                <a:lnTo>
                  <a:pt x="43" y="165"/>
                </a:lnTo>
                <a:lnTo>
                  <a:pt x="54" y="145"/>
                </a:lnTo>
                <a:lnTo>
                  <a:pt x="81" y="105"/>
                </a:lnTo>
                <a:lnTo>
                  <a:pt x="117" y="70"/>
                </a:lnTo>
                <a:lnTo>
                  <a:pt x="157" y="45"/>
                </a:lnTo>
                <a:lnTo>
                  <a:pt x="207" y="27"/>
                </a:lnTo>
                <a:lnTo>
                  <a:pt x="267" y="13"/>
                </a:lnTo>
                <a:lnTo>
                  <a:pt x="322" y="9"/>
                </a:lnTo>
                <a:lnTo>
                  <a:pt x="384" y="4"/>
                </a:lnTo>
                <a:lnTo>
                  <a:pt x="462" y="4"/>
                </a:lnTo>
                <a:lnTo>
                  <a:pt x="549" y="3"/>
                </a:lnTo>
                <a:lnTo>
                  <a:pt x="631" y="2"/>
                </a:lnTo>
                <a:lnTo>
                  <a:pt x="720" y="0"/>
                </a:lnTo>
                <a:lnTo>
                  <a:pt x="798" y="0"/>
                </a:lnTo>
                <a:lnTo>
                  <a:pt x="5348" y="0"/>
                </a:lnTo>
                <a:lnTo>
                  <a:pt x="5348" y="342"/>
                </a:lnTo>
                <a:lnTo>
                  <a:pt x="19" y="342"/>
                </a:lnTo>
                <a:lnTo>
                  <a:pt x="0" y="340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  <a:effectLst/>
        </p:spPr>
        <p:txBody>
          <a:bodyPr tIns="91440" bIns="91440" anchor="b"/>
          <a:lstStyle/>
          <a:p>
            <a:r>
              <a:rPr lang="de-DE" dirty="0" err="1" smtClean="0">
                <a:solidFill>
                  <a:schemeClr val="bg1"/>
                </a:solidFill>
              </a:rPr>
              <a:t>Good</a:t>
            </a:r>
            <a:r>
              <a:rPr lang="de-DE" dirty="0" smtClean="0">
                <a:solidFill>
                  <a:schemeClr val="bg1"/>
                </a:solidFill>
              </a:rPr>
              <a:t> </a:t>
            </a:r>
            <a:r>
              <a:rPr lang="de-DE" dirty="0" err="1" smtClean="0">
                <a:solidFill>
                  <a:schemeClr val="bg1"/>
                </a:solidFill>
              </a:rPr>
              <a:t>presentation</a:t>
            </a:r>
            <a:r>
              <a:rPr lang="de-DE" dirty="0" smtClean="0">
                <a:solidFill>
                  <a:schemeClr val="bg1"/>
                </a:solidFill>
              </a:rPr>
              <a:t> </a:t>
            </a:r>
            <a:r>
              <a:rPr lang="de-DE" dirty="0" err="1" smtClean="0">
                <a:solidFill>
                  <a:schemeClr val="bg1"/>
                </a:solidFill>
              </a:rPr>
              <a:t>skills</a:t>
            </a:r>
            <a:r>
              <a:rPr lang="de-DE" dirty="0">
                <a:solidFill>
                  <a:schemeClr val="bg1"/>
                </a:solidFill>
              </a:rPr>
              <a:t> </a:t>
            </a:r>
            <a:r>
              <a:rPr lang="de-DE" dirty="0" smtClean="0">
                <a:solidFill>
                  <a:schemeClr val="bg1"/>
                </a:solidFill>
              </a:rPr>
              <a:t>= </a:t>
            </a:r>
            <a:r>
              <a:rPr lang="de-DE" dirty="0" err="1" smtClean="0">
                <a:solidFill>
                  <a:schemeClr val="bg1"/>
                </a:solidFill>
              </a:rPr>
              <a:t>combination</a:t>
            </a:r>
            <a:r>
              <a:rPr lang="de-DE" dirty="0" smtClean="0">
                <a:solidFill>
                  <a:schemeClr val="bg1"/>
                </a:solidFill>
              </a:rPr>
              <a:t> </a:t>
            </a:r>
            <a:r>
              <a:rPr lang="de-DE" dirty="0" err="1" smtClean="0">
                <a:solidFill>
                  <a:schemeClr val="bg1"/>
                </a:solidFill>
              </a:rPr>
              <a:t>of</a:t>
            </a:r>
            <a:r>
              <a:rPr lang="de-DE" dirty="0" smtClean="0">
                <a:solidFill>
                  <a:schemeClr val="bg1"/>
                </a:solidFill>
              </a:rPr>
              <a:t> </a:t>
            </a:r>
            <a:r>
              <a:rPr lang="de-DE" b="1" dirty="0" smtClean="0">
                <a:solidFill>
                  <a:srgbClr val="FF0000"/>
                </a:solidFill>
              </a:rPr>
              <a:t>personal</a:t>
            </a:r>
            <a:r>
              <a:rPr lang="de-DE" dirty="0" smtClean="0">
                <a:solidFill>
                  <a:schemeClr val="bg1"/>
                </a:solidFill>
              </a:rPr>
              <a:t> </a:t>
            </a:r>
            <a:r>
              <a:rPr lang="de-DE" dirty="0" err="1" smtClean="0">
                <a:solidFill>
                  <a:schemeClr val="bg1"/>
                </a:solidFill>
              </a:rPr>
              <a:t>and</a:t>
            </a:r>
            <a:r>
              <a:rPr lang="de-DE" dirty="0" smtClean="0">
                <a:solidFill>
                  <a:schemeClr val="bg1"/>
                </a:solidFill>
              </a:rPr>
              <a:t> professional </a:t>
            </a:r>
            <a:r>
              <a:rPr lang="de-DE" dirty="0" err="1" smtClean="0">
                <a:solidFill>
                  <a:schemeClr val="bg1"/>
                </a:solidFill>
              </a:rPr>
              <a:t>skills</a:t>
            </a:r>
            <a:r>
              <a:rPr lang="de-DE" dirty="0" smtClean="0">
                <a:solidFill>
                  <a:schemeClr val="bg1"/>
                </a:solidFill>
              </a:rPr>
              <a:t>!</a:t>
            </a:r>
            <a:endParaRPr lang="de-DE" dirty="0">
              <a:solidFill>
                <a:schemeClr val="bg1"/>
              </a:solidFill>
            </a:endParaRPr>
          </a:p>
        </p:txBody>
      </p:sp>
      <p:pic>
        <p:nvPicPr>
          <p:cNvPr id="3" name="Audio 2">
            <a:hlinkClick r:id="" action="ppaction://media"/>
          </p:cNvPr>
          <p:cNvPicPr>
            <a:picLocks noChangeAspect="1"/>
          </p:cNvPicPr>
          <p:nvPr>
            <a:audioFile r:link="rId3"/>
            <p:extLst>
              <p:ext uri="{DAA4B4D4-6D71-4841-9C94-3DE7FCFB9230}">
                <p14:media xmlns:p14="http://schemas.microsoft.com/office/powerpoint/2010/main" r:embed="rId2"/>
              </p:ext>
            </p:extLst>
          </p:nvPr>
        </p:nvPicPr>
        <p:blipFill>
          <a:blip r:embed="rId6"/>
          <a:stretch>
            <a:fillRect/>
          </a:stretch>
        </p:blipFill>
        <p:spPr>
          <a:xfrm>
            <a:off x="11488738" y="6154738"/>
            <a:ext cx="487362" cy="4873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529159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32061"/>
    </mc:Choice>
    <mc:Fallback xmlns="">
      <p:transition spd="slow" advTm="32061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 isNarration="1">
              <p:cMediaNode vol="80000" showWhenStopped="0">
                <p:cTn id="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3"/>
                </p:tgtEl>
              </p:cMediaNode>
            </p:audio>
          </p:childTnLst>
        </p:cTn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 8">
            <a:extLst>
              <a:ext uri="{FF2B5EF4-FFF2-40B4-BE49-F238E27FC236}">
                <a16:creationId xmlns:a16="http://schemas.microsoft.com/office/drawing/2014/main" xmlns="" id="{48D8A2D3-B443-4986-B1ED-38333861808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e-DE" dirty="0" smtClean="0">
                <a:solidFill>
                  <a:srgbClr val="343434"/>
                </a:solidFill>
              </a:rPr>
              <a:t>English </a:t>
            </a:r>
            <a:r>
              <a:rPr lang="de-DE" dirty="0" smtClean="0">
                <a:solidFill>
                  <a:srgbClr val="343434"/>
                </a:solidFill>
              </a:rPr>
              <a:t>III</a:t>
            </a:r>
            <a:endParaRPr lang="de-DE" dirty="0">
              <a:solidFill>
                <a:srgbClr val="343434"/>
              </a:solidFill>
            </a:endParaRPr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xmlns="" id="{18B4579A-4238-40E2-906C-8E6A9538D842}"/>
              </a:ext>
            </a:extLst>
          </p:cNvPr>
          <p:cNvSpPr txBox="1">
            <a:spLocks/>
          </p:cNvSpPr>
          <p:nvPr/>
        </p:nvSpPr>
        <p:spPr>
          <a:xfrm>
            <a:off x="852784" y="1889341"/>
            <a:ext cx="4883782" cy="330864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IN" sz="2000" b="1" kern="1200" baseline="0" dirty="0">
                <a:solidFill>
                  <a:srgbClr val="002B6A"/>
                </a:solidFill>
                <a:latin typeface="Roboto Cn" pitchFamily="2" charset="0"/>
                <a:ea typeface="Roboto Cn" pitchFamily="2" charset="0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rgbClr val="FFFFFF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+mn-cs"/>
              </a:defRPr>
            </a:lvl2pPr>
            <a:lvl3pPr marL="914400" marR="0" indent="0" algn="ctr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kern="1200">
                <a:solidFill>
                  <a:srgbClr val="FFFFFF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rgbClr val="FFFFFF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rgbClr val="FFFFFF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1800" dirty="0" smtClean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The ugly truth is …</a:t>
            </a:r>
            <a:endParaRPr lang="en-US" sz="1800" dirty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11" name="Textplatzhalter 5">
            <a:extLst>
              <a:ext uri="{FF2B5EF4-FFF2-40B4-BE49-F238E27FC236}">
                <a16:creationId xmlns:a16="http://schemas.microsoft.com/office/drawing/2014/main" xmlns="" id="{07259BD0-8F46-453D-852A-6EDA7FC8F2F5}"/>
              </a:ext>
            </a:extLst>
          </p:cNvPr>
          <p:cNvSpPr txBox="1">
            <a:spLocks/>
          </p:cNvSpPr>
          <p:nvPr/>
        </p:nvSpPr>
        <p:spPr>
          <a:xfrm>
            <a:off x="821018" y="2220205"/>
            <a:ext cx="4639504" cy="3740647"/>
          </a:xfrm>
          <a:prstGeom prst="rect">
            <a:avLst/>
          </a:prstGeom>
        </p:spPr>
        <p:txBody>
          <a:bodyPr/>
          <a:lstStyle>
            <a:lvl1pPr marL="285750" indent="-285750" algn="ctr" defTabSz="914400" rtl="0" eaLnBrk="1" latinLnBrk="0" hangingPunct="1">
              <a:lnSpc>
                <a:spcPts val="2400"/>
              </a:lnSpc>
              <a:spcBef>
                <a:spcPts val="1000"/>
              </a:spcBef>
              <a:buSzPct val="65000"/>
              <a:buFontTx/>
              <a:buBlip>
                <a:blip r:embed="rId4"/>
              </a:buBlip>
              <a:tabLst>
                <a:tab pos="1704975" algn="l"/>
              </a:tabLst>
              <a:defRPr lang="de-DE" sz="1600" kern="1200" dirty="0" err="1" smtClean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lang="de-DE" sz="1600" kern="1200" dirty="0" smtClean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+mn-cs"/>
              </a:defRPr>
            </a:lvl2pPr>
            <a:lvl3pPr marL="914400" marR="0" indent="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de-DE" sz="1600" kern="1200" dirty="0" smtClean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lang="de-DE" sz="1600" kern="1200" dirty="0" smtClean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lang="de-DE" sz="1600" kern="12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lnSpc>
                <a:spcPct val="150000"/>
              </a:lnSpc>
              <a:spcBef>
                <a:spcPct val="0"/>
              </a:spcBef>
            </a:pPr>
            <a:r>
              <a:rPr lang="de-DE" altLang="de-DE" sz="1800" dirty="0" err="1">
                <a:solidFill>
                  <a:schemeClr val="bg1"/>
                </a:solidFill>
              </a:rPr>
              <a:t>there</a:t>
            </a:r>
            <a:r>
              <a:rPr lang="de-DE" altLang="de-DE" sz="1800" dirty="0">
                <a:solidFill>
                  <a:schemeClr val="bg1"/>
                </a:solidFill>
              </a:rPr>
              <a:t> </a:t>
            </a:r>
            <a:r>
              <a:rPr lang="de-DE" altLang="de-DE" sz="1800" dirty="0" err="1">
                <a:solidFill>
                  <a:schemeClr val="bg1"/>
                </a:solidFill>
              </a:rPr>
              <a:t>are</a:t>
            </a:r>
            <a:r>
              <a:rPr lang="de-DE" altLang="de-DE" sz="1800" dirty="0">
                <a:solidFill>
                  <a:schemeClr val="bg1"/>
                </a:solidFill>
              </a:rPr>
              <a:t> </a:t>
            </a:r>
            <a:r>
              <a:rPr lang="de-DE" altLang="de-DE" sz="1800" dirty="0" err="1">
                <a:solidFill>
                  <a:schemeClr val="bg1"/>
                </a:solidFill>
              </a:rPr>
              <a:t>born</a:t>
            </a:r>
            <a:r>
              <a:rPr lang="de-DE" altLang="de-DE" sz="1800" dirty="0">
                <a:solidFill>
                  <a:schemeClr val="bg1"/>
                </a:solidFill>
              </a:rPr>
              <a:t> </a:t>
            </a:r>
            <a:r>
              <a:rPr lang="de-DE" altLang="de-DE" sz="1800" dirty="0" err="1">
                <a:solidFill>
                  <a:schemeClr val="bg1"/>
                </a:solidFill>
              </a:rPr>
              <a:t>presenters</a:t>
            </a:r>
            <a:r>
              <a:rPr lang="de-DE" altLang="de-DE" sz="1800" dirty="0">
                <a:solidFill>
                  <a:schemeClr val="bg1"/>
                </a:solidFill>
              </a:rPr>
              <a:t> </a:t>
            </a:r>
            <a:r>
              <a:rPr lang="de-DE" altLang="de-DE" sz="1800" dirty="0" err="1">
                <a:solidFill>
                  <a:schemeClr val="bg1"/>
                </a:solidFill>
              </a:rPr>
              <a:t>and</a:t>
            </a:r>
            <a:endParaRPr lang="de-DE" altLang="de-DE" sz="1800" dirty="0">
              <a:solidFill>
                <a:schemeClr val="bg1"/>
              </a:solidFill>
            </a:endParaRPr>
          </a:p>
          <a:p>
            <a:pPr lvl="1">
              <a:lnSpc>
                <a:spcPct val="150000"/>
              </a:lnSpc>
              <a:spcBef>
                <a:spcPct val="0"/>
              </a:spcBef>
            </a:pPr>
            <a:endParaRPr lang="de-DE" altLang="de-DE" sz="1800" dirty="0">
              <a:solidFill>
                <a:schemeClr val="bg1"/>
              </a:solidFill>
            </a:endParaRPr>
          </a:p>
          <a:p>
            <a:pPr lvl="4">
              <a:lnSpc>
                <a:spcPct val="150000"/>
              </a:lnSpc>
              <a:spcBef>
                <a:spcPct val="0"/>
              </a:spcBef>
            </a:pPr>
            <a:r>
              <a:rPr lang="de-DE" altLang="de-DE" sz="1800" dirty="0">
                <a:solidFill>
                  <a:schemeClr val="bg1"/>
                </a:solidFill>
              </a:rPr>
              <a:t> ……. </a:t>
            </a:r>
            <a:r>
              <a:rPr lang="de-DE" altLang="de-DE" sz="1800" dirty="0" err="1">
                <a:solidFill>
                  <a:schemeClr val="bg1"/>
                </a:solidFill>
              </a:rPr>
              <a:t>the</a:t>
            </a:r>
            <a:r>
              <a:rPr lang="de-DE" altLang="de-DE" sz="1800" dirty="0">
                <a:solidFill>
                  <a:schemeClr val="bg1"/>
                </a:solidFill>
              </a:rPr>
              <a:t> </a:t>
            </a:r>
            <a:r>
              <a:rPr lang="de-DE" altLang="de-DE" sz="1800" dirty="0" err="1">
                <a:solidFill>
                  <a:schemeClr val="bg1"/>
                </a:solidFill>
              </a:rPr>
              <a:t>others</a:t>
            </a:r>
            <a:endParaRPr lang="de-DE" altLang="de-DE" sz="1800" dirty="0">
              <a:solidFill>
                <a:schemeClr val="bg1"/>
              </a:solidFill>
            </a:endParaRPr>
          </a:p>
          <a:p>
            <a:pPr lvl="4">
              <a:lnSpc>
                <a:spcPct val="150000"/>
              </a:lnSpc>
              <a:spcBef>
                <a:spcPct val="0"/>
              </a:spcBef>
            </a:pPr>
            <a:endParaRPr lang="de-DE" altLang="de-DE" sz="1800" dirty="0">
              <a:solidFill>
                <a:schemeClr val="bg1"/>
              </a:solidFill>
            </a:endParaRPr>
          </a:p>
          <a:p>
            <a:pPr lvl="4">
              <a:lnSpc>
                <a:spcPct val="150000"/>
              </a:lnSpc>
              <a:spcBef>
                <a:spcPct val="0"/>
              </a:spcBef>
            </a:pPr>
            <a:endParaRPr lang="de-DE" altLang="de-DE" sz="1800" dirty="0">
              <a:solidFill>
                <a:schemeClr val="bg1"/>
              </a:solidFill>
            </a:endParaRPr>
          </a:p>
          <a:p>
            <a:pPr lvl="4">
              <a:lnSpc>
                <a:spcPct val="150000"/>
              </a:lnSpc>
              <a:spcBef>
                <a:spcPct val="0"/>
              </a:spcBef>
            </a:pPr>
            <a:endParaRPr lang="de-DE" altLang="de-DE" sz="1800" dirty="0">
              <a:solidFill>
                <a:schemeClr val="bg1"/>
              </a:solidFill>
            </a:endParaRPr>
          </a:p>
          <a:p>
            <a:pPr lvl="4">
              <a:lnSpc>
                <a:spcPct val="150000"/>
              </a:lnSpc>
              <a:spcBef>
                <a:spcPct val="0"/>
              </a:spcBef>
            </a:pPr>
            <a:r>
              <a:rPr lang="de-DE" altLang="de-DE" sz="1800" dirty="0">
                <a:solidFill>
                  <a:schemeClr val="bg1"/>
                </a:solidFill>
              </a:rPr>
              <a:t>… all </a:t>
            </a:r>
            <a:r>
              <a:rPr lang="de-DE" altLang="de-DE" sz="1800" dirty="0" err="1">
                <a:solidFill>
                  <a:schemeClr val="bg1"/>
                </a:solidFill>
              </a:rPr>
              <a:t>eyes</a:t>
            </a:r>
            <a:r>
              <a:rPr lang="de-DE" altLang="de-DE" sz="1800" dirty="0">
                <a:solidFill>
                  <a:schemeClr val="bg1"/>
                </a:solidFill>
              </a:rPr>
              <a:t> </a:t>
            </a:r>
            <a:r>
              <a:rPr lang="de-DE" altLang="de-DE" sz="1800" dirty="0" err="1">
                <a:solidFill>
                  <a:schemeClr val="bg1"/>
                </a:solidFill>
              </a:rPr>
              <a:t>are</a:t>
            </a:r>
            <a:r>
              <a:rPr lang="de-DE" altLang="de-DE" sz="1800" dirty="0">
                <a:solidFill>
                  <a:schemeClr val="bg1"/>
                </a:solidFill>
              </a:rPr>
              <a:t> on </a:t>
            </a:r>
            <a:r>
              <a:rPr lang="de-DE" altLang="de-DE" sz="1800" dirty="0" err="1">
                <a:solidFill>
                  <a:schemeClr val="bg1"/>
                </a:solidFill>
              </a:rPr>
              <a:t>you</a:t>
            </a:r>
            <a:endParaRPr lang="de-DE" altLang="de-DE" sz="1800" dirty="0">
              <a:solidFill>
                <a:schemeClr val="bg1"/>
              </a:solidFill>
            </a:endParaRPr>
          </a:p>
          <a:p>
            <a:pPr lvl="4">
              <a:lnSpc>
                <a:spcPct val="150000"/>
              </a:lnSpc>
              <a:spcBef>
                <a:spcPct val="0"/>
              </a:spcBef>
            </a:pPr>
            <a:r>
              <a:rPr lang="de-DE" altLang="de-DE" sz="1800" dirty="0">
                <a:solidFill>
                  <a:schemeClr val="bg1"/>
                </a:solidFill>
              </a:rPr>
              <a:t>… all </a:t>
            </a:r>
            <a:r>
              <a:rPr lang="de-DE" altLang="de-DE" sz="1800" dirty="0" err="1">
                <a:solidFill>
                  <a:schemeClr val="bg1"/>
                </a:solidFill>
              </a:rPr>
              <a:t>ears</a:t>
            </a:r>
            <a:r>
              <a:rPr lang="de-DE" altLang="de-DE" sz="1800" dirty="0">
                <a:solidFill>
                  <a:schemeClr val="bg1"/>
                </a:solidFill>
              </a:rPr>
              <a:t> </a:t>
            </a:r>
            <a:r>
              <a:rPr lang="de-DE" altLang="de-DE" sz="1800" dirty="0" err="1">
                <a:solidFill>
                  <a:schemeClr val="bg1"/>
                </a:solidFill>
              </a:rPr>
              <a:t>are</a:t>
            </a:r>
            <a:r>
              <a:rPr lang="de-DE" altLang="de-DE" sz="1800" dirty="0">
                <a:solidFill>
                  <a:schemeClr val="bg1"/>
                </a:solidFill>
              </a:rPr>
              <a:t> </a:t>
            </a:r>
            <a:r>
              <a:rPr lang="de-DE" altLang="de-DE" sz="1800" dirty="0" err="1">
                <a:solidFill>
                  <a:schemeClr val="bg1"/>
                </a:solidFill>
              </a:rPr>
              <a:t>focused</a:t>
            </a:r>
            <a:r>
              <a:rPr lang="de-DE" altLang="de-DE" sz="1800" dirty="0">
                <a:solidFill>
                  <a:schemeClr val="bg1"/>
                </a:solidFill>
              </a:rPr>
              <a:t> on </a:t>
            </a:r>
            <a:r>
              <a:rPr lang="de-DE" altLang="de-DE" sz="1800" dirty="0" err="1">
                <a:solidFill>
                  <a:schemeClr val="bg1"/>
                </a:solidFill>
              </a:rPr>
              <a:t>what</a:t>
            </a:r>
            <a:r>
              <a:rPr lang="de-DE" altLang="de-DE" sz="1800" dirty="0">
                <a:solidFill>
                  <a:schemeClr val="bg1"/>
                </a:solidFill>
              </a:rPr>
              <a:t> </a:t>
            </a:r>
            <a:r>
              <a:rPr lang="de-DE" altLang="de-DE" sz="1800" dirty="0" err="1">
                <a:solidFill>
                  <a:schemeClr val="bg1"/>
                </a:solidFill>
              </a:rPr>
              <a:t>you</a:t>
            </a:r>
            <a:r>
              <a:rPr lang="de-DE" altLang="de-DE" sz="1800" dirty="0">
                <a:solidFill>
                  <a:schemeClr val="bg1"/>
                </a:solidFill>
              </a:rPr>
              <a:t> </a:t>
            </a:r>
            <a:r>
              <a:rPr lang="de-DE" altLang="de-DE" sz="1800" dirty="0" err="1">
                <a:solidFill>
                  <a:schemeClr val="bg1"/>
                </a:solidFill>
              </a:rPr>
              <a:t>say</a:t>
            </a:r>
            <a:endParaRPr lang="de-DE" altLang="de-DE" sz="1800" dirty="0">
              <a:solidFill>
                <a:schemeClr val="bg1"/>
              </a:solidFill>
            </a:endParaRPr>
          </a:p>
          <a:p>
            <a:pPr algn="l">
              <a:lnSpc>
                <a:spcPts val="1800"/>
              </a:lnSpc>
              <a:buFontTx/>
              <a:buChar char="-"/>
            </a:pPr>
            <a:endParaRPr lang="de-DE" dirty="0">
              <a:solidFill>
                <a:schemeClr val="bg1">
                  <a:lumMod val="50000"/>
                </a:schemeClr>
              </a:solidFill>
              <a:cs typeface="Roboto Condensed" panose="02000000000000000000" pitchFamily="2" charset="0"/>
            </a:endParaRPr>
          </a:p>
          <a:p>
            <a:pPr algn="l">
              <a:lnSpc>
                <a:spcPts val="1800"/>
              </a:lnSpc>
              <a:buFontTx/>
              <a:buChar char="-"/>
            </a:pPr>
            <a:endParaRPr lang="de-DE" dirty="0" smtClean="0">
              <a:solidFill>
                <a:schemeClr val="bg1">
                  <a:lumMod val="50000"/>
                </a:schemeClr>
              </a:solidFill>
            </a:endParaRPr>
          </a:p>
          <a:p>
            <a:pPr algn="l">
              <a:lnSpc>
                <a:spcPts val="1800"/>
              </a:lnSpc>
              <a:buFontTx/>
              <a:buChar char="-"/>
            </a:pPr>
            <a:endParaRPr lang="de-DE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14" name="Textplatzhalter 5">
            <a:extLst>
              <a:ext uri="{FF2B5EF4-FFF2-40B4-BE49-F238E27FC236}">
                <a16:creationId xmlns:a16="http://schemas.microsoft.com/office/drawing/2014/main" xmlns="" id="{E483239E-B7FF-4473-BEC7-2F375E16713D}"/>
              </a:ext>
            </a:extLst>
          </p:cNvPr>
          <p:cNvSpPr txBox="1">
            <a:spLocks/>
          </p:cNvSpPr>
          <p:nvPr/>
        </p:nvSpPr>
        <p:spPr>
          <a:xfrm>
            <a:off x="6096000" y="2501342"/>
            <a:ext cx="4830846" cy="2662842"/>
          </a:xfrm>
          <a:prstGeom prst="rect">
            <a:avLst/>
          </a:prstGeom>
        </p:spPr>
        <p:txBody>
          <a:bodyPr/>
          <a:lstStyle>
            <a:lvl1pPr marL="285750" indent="-285750" algn="ctr" defTabSz="914400" rtl="0" eaLnBrk="1" latinLnBrk="0" hangingPunct="1">
              <a:lnSpc>
                <a:spcPts val="2400"/>
              </a:lnSpc>
              <a:spcBef>
                <a:spcPts val="1000"/>
              </a:spcBef>
              <a:buSzPct val="65000"/>
              <a:buFontTx/>
              <a:buBlip>
                <a:blip r:embed="rId4"/>
              </a:buBlip>
              <a:tabLst>
                <a:tab pos="1704975" algn="l"/>
              </a:tabLst>
              <a:defRPr lang="de-DE" sz="1600" kern="1200" dirty="0" err="1" smtClean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lang="de-DE" sz="1600" kern="1200" dirty="0" smtClean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+mn-cs"/>
              </a:defRPr>
            </a:lvl2pPr>
            <a:lvl3pPr marL="914400" marR="0" indent="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de-DE" sz="1600" kern="1200" dirty="0" smtClean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lang="de-DE" sz="1600" kern="1200" dirty="0" smtClean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lang="de-DE" sz="1600" kern="12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ts val="1800"/>
              </a:lnSpc>
            </a:pPr>
            <a:endParaRPr lang="de-DE" dirty="0">
              <a:solidFill>
                <a:srgbClr val="343434"/>
              </a:solidFill>
            </a:endParaRPr>
          </a:p>
        </p:txBody>
      </p:sp>
      <p:pic>
        <p:nvPicPr>
          <p:cNvPr id="6" name="Picture 2" descr="C:\Users\krausse\AppData\Local\Microsoft\Windows\INetCache\IE\MZV9RC1V\frowny_face-200x150[1].jp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54971" y="2501342"/>
            <a:ext cx="2193474" cy="17883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" name="Audio 1">
            <a:hlinkClick r:id="" action="ppaction://media"/>
          </p:cNvPr>
          <p:cNvPicPr>
            <a:picLocks noChangeAspect="1"/>
          </p:cNvPicPr>
          <p:nvPr>
            <a:audi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6"/>
          <a:stretch>
            <a:fillRect/>
          </a:stretch>
        </p:blipFill>
        <p:spPr>
          <a:xfrm>
            <a:off x="11488738" y="6154738"/>
            <a:ext cx="487362" cy="4873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64420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18181"/>
    </mc:Choice>
    <mc:Fallback xmlns="">
      <p:transition spd="slow" advTm="18181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 isNarration="1">
              <p:cMediaNode vol="80000" showWhenStopped="0">
                <p:cTn id="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2"/>
                </p:tgtEl>
              </p:cMediaNode>
            </p:audio>
          </p:childTnLst>
        </p:cTn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 8">
            <a:extLst>
              <a:ext uri="{FF2B5EF4-FFF2-40B4-BE49-F238E27FC236}">
                <a16:creationId xmlns:a16="http://schemas.microsoft.com/office/drawing/2014/main" xmlns="" id="{48D8A2D3-B443-4986-B1ED-38333861808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e-DE" smtClean="0">
                <a:solidFill>
                  <a:srgbClr val="343434"/>
                </a:solidFill>
              </a:rPr>
              <a:t>English </a:t>
            </a:r>
            <a:r>
              <a:rPr lang="de-DE" dirty="0" smtClean="0">
                <a:solidFill>
                  <a:srgbClr val="343434"/>
                </a:solidFill>
              </a:rPr>
              <a:t>III</a:t>
            </a:r>
            <a:endParaRPr lang="de-DE" dirty="0">
              <a:solidFill>
                <a:srgbClr val="343434"/>
              </a:solidFill>
            </a:endParaRPr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xmlns="" id="{18B4579A-4238-40E2-906C-8E6A9538D842}"/>
              </a:ext>
            </a:extLst>
          </p:cNvPr>
          <p:cNvSpPr txBox="1">
            <a:spLocks/>
          </p:cNvSpPr>
          <p:nvPr/>
        </p:nvSpPr>
        <p:spPr>
          <a:xfrm>
            <a:off x="852784" y="1889341"/>
            <a:ext cx="4883782" cy="330864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IN" sz="2000" b="1" kern="1200" baseline="0" dirty="0">
                <a:solidFill>
                  <a:srgbClr val="002B6A"/>
                </a:solidFill>
                <a:latin typeface="Roboto Cn" pitchFamily="2" charset="0"/>
                <a:ea typeface="Roboto Cn" pitchFamily="2" charset="0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rgbClr val="FFFFFF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+mn-cs"/>
              </a:defRPr>
            </a:lvl2pPr>
            <a:lvl3pPr marL="914400" marR="0" indent="0" algn="ctr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kern="1200">
                <a:solidFill>
                  <a:srgbClr val="FFFFFF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rgbClr val="FFFFFF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rgbClr val="FFFFFF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1800" dirty="0" smtClean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The good news is …</a:t>
            </a:r>
            <a:endParaRPr lang="en-US" sz="1800" dirty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11" name="Textplatzhalter 5">
            <a:extLst>
              <a:ext uri="{FF2B5EF4-FFF2-40B4-BE49-F238E27FC236}">
                <a16:creationId xmlns:a16="http://schemas.microsoft.com/office/drawing/2014/main" xmlns="" id="{07259BD0-8F46-453D-852A-6EDA7FC8F2F5}"/>
              </a:ext>
            </a:extLst>
          </p:cNvPr>
          <p:cNvSpPr txBox="1">
            <a:spLocks/>
          </p:cNvSpPr>
          <p:nvPr/>
        </p:nvSpPr>
        <p:spPr>
          <a:xfrm>
            <a:off x="821018" y="2363637"/>
            <a:ext cx="4639504" cy="3597215"/>
          </a:xfrm>
          <a:prstGeom prst="rect">
            <a:avLst/>
          </a:prstGeom>
        </p:spPr>
        <p:txBody>
          <a:bodyPr/>
          <a:lstStyle>
            <a:lvl1pPr marL="285750" indent="-285750" algn="ctr" defTabSz="914400" rtl="0" eaLnBrk="1" latinLnBrk="0" hangingPunct="1">
              <a:lnSpc>
                <a:spcPts val="2400"/>
              </a:lnSpc>
              <a:spcBef>
                <a:spcPts val="1000"/>
              </a:spcBef>
              <a:buSzPct val="65000"/>
              <a:buFontTx/>
              <a:buBlip>
                <a:blip r:embed="rId4"/>
              </a:buBlip>
              <a:tabLst>
                <a:tab pos="1704975" algn="l"/>
              </a:tabLst>
              <a:defRPr lang="de-DE" sz="1600" kern="1200" dirty="0" err="1" smtClean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lang="de-DE" sz="1600" kern="1200" dirty="0" smtClean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+mn-cs"/>
              </a:defRPr>
            </a:lvl2pPr>
            <a:lvl3pPr marL="914400" marR="0" indent="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de-DE" sz="1600" kern="1200" dirty="0" smtClean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lang="de-DE" sz="1600" kern="1200" dirty="0" smtClean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lang="de-DE" sz="1600" kern="12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lnSpc>
                <a:spcPct val="150000"/>
              </a:lnSpc>
              <a:spcBef>
                <a:spcPct val="0"/>
              </a:spcBef>
            </a:pPr>
            <a:r>
              <a:rPr lang="de-DE" altLang="de-DE" dirty="0">
                <a:solidFill>
                  <a:schemeClr val="bg1"/>
                </a:solidFill>
              </a:rPr>
              <a:t>.... </a:t>
            </a:r>
            <a:r>
              <a:rPr lang="de-DE" altLang="de-DE" dirty="0" err="1">
                <a:solidFill>
                  <a:schemeClr val="bg1"/>
                </a:solidFill>
              </a:rPr>
              <a:t>there‘s</a:t>
            </a:r>
            <a:r>
              <a:rPr lang="de-DE" altLang="de-DE" dirty="0">
                <a:solidFill>
                  <a:schemeClr val="bg1"/>
                </a:solidFill>
              </a:rPr>
              <a:t> </a:t>
            </a:r>
            <a:r>
              <a:rPr lang="de-DE" altLang="de-DE" dirty="0" err="1">
                <a:solidFill>
                  <a:schemeClr val="bg1"/>
                </a:solidFill>
              </a:rPr>
              <a:t>something</a:t>
            </a:r>
            <a:r>
              <a:rPr lang="de-DE" altLang="de-DE" dirty="0">
                <a:solidFill>
                  <a:schemeClr val="bg1"/>
                </a:solidFill>
              </a:rPr>
              <a:t> </a:t>
            </a:r>
            <a:r>
              <a:rPr lang="de-DE" altLang="de-DE" dirty="0" err="1">
                <a:solidFill>
                  <a:schemeClr val="bg1"/>
                </a:solidFill>
              </a:rPr>
              <a:t>you</a:t>
            </a:r>
            <a:r>
              <a:rPr lang="de-DE" altLang="de-DE" dirty="0">
                <a:solidFill>
                  <a:schemeClr val="bg1"/>
                </a:solidFill>
              </a:rPr>
              <a:t> </a:t>
            </a:r>
            <a:r>
              <a:rPr lang="de-DE" altLang="de-DE" dirty="0" err="1">
                <a:solidFill>
                  <a:schemeClr val="bg1"/>
                </a:solidFill>
              </a:rPr>
              <a:t>can</a:t>
            </a:r>
            <a:r>
              <a:rPr lang="de-DE" altLang="de-DE" dirty="0">
                <a:solidFill>
                  <a:schemeClr val="bg1"/>
                </a:solidFill>
              </a:rPr>
              <a:t> do!</a:t>
            </a:r>
          </a:p>
          <a:p>
            <a:pPr lvl="1">
              <a:lnSpc>
                <a:spcPct val="150000"/>
              </a:lnSpc>
              <a:spcBef>
                <a:spcPct val="0"/>
              </a:spcBef>
            </a:pPr>
            <a:endParaRPr lang="de-DE" altLang="de-DE" dirty="0">
              <a:solidFill>
                <a:schemeClr val="bg1"/>
              </a:solidFill>
            </a:endParaRPr>
          </a:p>
          <a:p>
            <a:pPr lvl="1">
              <a:lnSpc>
                <a:spcPct val="150000"/>
              </a:lnSpc>
              <a:spcBef>
                <a:spcPct val="0"/>
              </a:spcBef>
            </a:pPr>
            <a:endParaRPr lang="de-DE" altLang="de-DE" dirty="0">
              <a:solidFill>
                <a:schemeClr val="bg1"/>
              </a:solidFill>
            </a:endParaRPr>
          </a:p>
          <a:p>
            <a:pPr lvl="1">
              <a:lnSpc>
                <a:spcPct val="150000"/>
              </a:lnSpc>
              <a:spcBef>
                <a:spcPct val="0"/>
              </a:spcBef>
            </a:pPr>
            <a:r>
              <a:rPr lang="de-DE" altLang="de-DE" dirty="0">
                <a:solidFill>
                  <a:schemeClr val="bg1"/>
                </a:solidFill>
              </a:rPr>
              <a:t>		…. </a:t>
            </a:r>
            <a:r>
              <a:rPr lang="de-DE" altLang="de-DE" dirty="0" err="1">
                <a:solidFill>
                  <a:schemeClr val="bg1"/>
                </a:solidFill>
              </a:rPr>
              <a:t>prepare</a:t>
            </a:r>
            <a:r>
              <a:rPr lang="de-DE" altLang="de-DE" dirty="0">
                <a:solidFill>
                  <a:schemeClr val="bg1"/>
                </a:solidFill>
              </a:rPr>
              <a:t> </a:t>
            </a:r>
            <a:r>
              <a:rPr lang="de-DE" altLang="de-DE" dirty="0" err="1">
                <a:solidFill>
                  <a:schemeClr val="bg1"/>
                </a:solidFill>
              </a:rPr>
              <a:t>extremely</a:t>
            </a:r>
            <a:r>
              <a:rPr lang="de-DE" altLang="de-DE" dirty="0">
                <a:solidFill>
                  <a:schemeClr val="bg1"/>
                </a:solidFill>
              </a:rPr>
              <a:t> </a:t>
            </a:r>
            <a:r>
              <a:rPr lang="de-DE" altLang="de-DE" dirty="0" err="1">
                <a:solidFill>
                  <a:schemeClr val="bg1"/>
                </a:solidFill>
              </a:rPr>
              <a:t>well</a:t>
            </a:r>
            <a:r>
              <a:rPr lang="de-DE" altLang="de-DE" dirty="0">
                <a:solidFill>
                  <a:schemeClr val="bg1"/>
                </a:solidFill>
              </a:rPr>
              <a:t> </a:t>
            </a:r>
            <a:r>
              <a:rPr lang="de-DE" altLang="de-DE" dirty="0" err="1">
                <a:solidFill>
                  <a:schemeClr val="bg1"/>
                </a:solidFill>
              </a:rPr>
              <a:t>for</a:t>
            </a:r>
            <a:r>
              <a:rPr lang="de-DE" altLang="de-DE" dirty="0">
                <a:solidFill>
                  <a:schemeClr val="bg1"/>
                </a:solidFill>
              </a:rPr>
              <a:t> </a:t>
            </a:r>
            <a:r>
              <a:rPr lang="de-DE" altLang="de-DE" dirty="0" err="1">
                <a:solidFill>
                  <a:schemeClr val="bg1"/>
                </a:solidFill>
              </a:rPr>
              <a:t>your</a:t>
            </a:r>
            <a:r>
              <a:rPr lang="de-DE" altLang="de-DE" dirty="0">
                <a:solidFill>
                  <a:schemeClr val="bg1"/>
                </a:solidFill>
              </a:rPr>
              <a:t> </a:t>
            </a:r>
            <a:r>
              <a:rPr lang="de-DE" altLang="de-DE" dirty="0" err="1">
                <a:solidFill>
                  <a:schemeClr val="bg1"/>
                </a:solidFill>
              </a:rPr>
              <a:t>presentation</a:t>
            </a:r>
            <a:r>
              <a:rPr lang="de-DE" altLang="de-DE" dirty="0">
                <a:solidFill>
                  <a:schemeClr val="bg1"/>
                </a:solidFill>
              </a:rPr>
              <a:t>!</a:t>
            </a:r>
          </a:p>
          <a:p>
            <a:pPr algn="l">
              <a:lnSpc>
                <a:spcPts val="1800"/>
              </a:lnSpc>
              <a:buFontTx/>
              <a:buChar char="-"/>
            </a:pPr>
            <a:endParaRPr lang="de-DE" dirty="0">
              <a:solidFill>
                <a:schemeClr val="bg1"/>
              </a:solidFill>
              <a:cs typeface="Roboto Condensed" panose="02000000000000000000" pitchFamily="2" charset="0"/>
            </a:endParaRPr>
          </a:p>
          <a:p>
            <a:pPr algn="l">
              <a:lnSpc>
                <a:spcPts val="1800"/>
              </a:lnSpc>
              <a:buFontTx/>
              <a:buChar char="-"/>
            </a:pPr>
            <a:endParaRPr lang="de-DE" dirty="0" smtClean="0">
              <a:solidFill>
                <a:schemeClr val="bg1">
                  <a:lumMod val="50000"/>
                </a:schemeClr>
              </a:solidFill>
            </a:endParaRPr>
          </a:p>
          <a:p>
            <a:pPr algn="l">
              <a:lnSpc>
                <a:spcPts val="1800"/>
              </a:lnSpc>
              <a:buFontTx/>
              <a:buChar char="-"/>
            </a:pPr>
            <a:endParaRPr lang="de-DE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14" name="Textplatzhalter 5">
            <a:extLst>
              <a:ext uri="{FF2B5EF4-FFF2-40B4-BE49-F238E27FC236}">
                <a16:creationId xmlns:a16="http://schemas.microsoft.com/office/drawing/2014/main" xmlns="" id="{E483239E-B7FF-4473-BEC7-2F375E16713D}"/>
              </a:ext>
            </a:extLst>
          </p:cNvPr>
          <p:cNvSpPr txBox="1">
            <a:spLocks/>
          </p:cNvSpPr>
          <p:nvPr/>
        </p:nvSpPr>
        <p:spPr>
          <a:xfrm>
            <a:off x="6096000" y="2501342"/>
            <a:ext cx="4830846" cy="2662842"/>
          </a:xfrm>
          <a:prstGeom prst="rect">
            <a:avLst/>
          </a:prstGeom>
        </p:spPr>
        <p:txBody>
          <a:bodyPr/>
          <a:lstStyle>
            <a:lvl1pPr marL="285750" indent="-285750" algn="ctr" defTabSz="914400" rtl="0" eaLnBrk="1" latinLnBrk="0" hangingPunct="1">
              <a:lnSpc>
                <a:spcPts val="2400"/>
              </a:lnSpc>
              <a:spcBef>
                <a:spcPts val="1000"/>
              </a:spcBef>
              <a:buSzPct val="65000"/>
              <a:buFontTx/>
              <a:buBlip>
                <a:blip r:embed="rId4"/>
              </a:buBlip>
              <a:tabLst>
                <a:tab pos="1704975" algn="l"/>
              </a:tabLst>
              <a:defRPr lang="de-DE" sz="1600" kern="1200" dirty="0" err="1" smtClean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lang="de-DE" sz="1600" kern="1200" dirty="0" smtClean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+mn-cs"/>
              </a:defRPr>
            </a:lvl2pPr>
            <a:lvl3pPr marL="914400" marR="0" indent="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de-DE" sz="1600" kern="1200" dirty="0" smtClean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lang="de-DE" sz="1600" kern="1200" dirty="0" smtClean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lang="de-DE" sz="1600" kern="12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ts val="1800"/>
              </a:lnSpc>
            </a:pPr>
            <a:endParaRPr lang="de-DE" dirty="0">
              <a:solidFill>
                <a:srgbClr val="343434"/>
              </a:solidFill>
            </a:endParaRPr>
          </a:p>
        </p:txBody>
      </p:sp>
      <p:pic>
        <p:nvPicPr>
          <p:cNvPr id="7" name="Picture 5" descr="C:\Users\krausse\AppData\Local\Microsoft\Windows\INetCache\IE\FI8NPS82\513868_201210042103100000001[1].jp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96000" y="2594365"/>
            <a:ext cx="1681309" cy="16757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" name="Audio 1">
            <a:hlinkClick r:id="" action="ppaction://media"/>
          </p:cNvPr>
          <p:cNvPicPr>
            <a:picLocks noChangeAspect="1"/>
          </p:cNvPicPr>
          <p:nvPr>
            <a:audi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6"/>
          <a:stretch>
            <a:fillRect/>
          </a:stretch>
        </p:blipFill>
        <p:spPr>
          <a:xfrm>
            <a:off x="11488738" y="6154738"/>
            <a:ext cx="487362" cy="4873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924391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18935"/>
    </mc:Choice>
    <mc:Fallback xmlns="">
      <p:transition spd="slow" advTm="18935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 isNarration="1">
              <p:cMediaNode vol="80000" showWhenStopped="0">
                <p:cTn id="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2"/>
                </p:tgtEl>
              </p:cMediaNode>
            </p:audio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 8">
            <a:extLst>
              <a:ext uri="{FF2B5EF4-FFF2-40B4-BE49-F238E27FC236}">
                <a16:creationId xmlns:a16="http://schemas.microsoft.com/office/drawing/2014/main" xmlns="" id="{48D8A2D3-B443-4986-B1ED-38333861808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e-DE" dirty="0" smtClean="0">
                <a:solidFill>
                  <a:srgbClr val="343434"/>
                </a:solidFill>
              </a:rPr>
              <a:t>English </a:t>
            </a:r>
            <a:r>
              <a:rPr lang="de-DE" dirty="0" smtClean="0">
                <a:solidFill>
                  <a:srgbClr val="343434"/>
                </a:solidFill>
              </a:rPr>
              <a:t>III</a:t>
            </a:r>
            <a:endParaRPr lang="de-DE" dirty="0">
              <a:solidFill>
                <a:srgbClr val="343434"/>
              </a:solidFill>
            </a:endParaRPr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xmlns="" id="{18B4579A-4238-40E2-906C-8E6A9538D842}"/>
              </a:ext>
            </a:extLst>
          </p:cNvPr>
          <p:cNvSpPr txBox="1">
            <a:spLocks/>
          </p:cNvSpPr>
          <p:nvPr/>
        </p:nvSpPr>
        <p:spPr>
          <a:xfrm>
            <a:off x="852784" y="1889341"/>
            <a:ext cx="4883782" cy="330864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IN" sz="2000" b="1" kern="1200" baseline="0" dirty="0">
                <a:solidFill>
                  <a:srgbClr val="002B6A"/>
                </a:solidFill>
                <a:latin typeface="Roboto Cn" pitchFamily="2" charset="0"/>
                <a:ea typeface="Roboto Cn" pitchFamily="2" charset="0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rgbClr val="FFFFFF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+mn-cs"/>
              </a:defRPr>
            </a:lvl2pPr>
            <a:lvl3pPr marL="914400" marR="0" indent="0" algn="ctr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kern="1200">
                <a:solidFill>
                  <a:srgbClr val="FFFFFF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rgbClr val="FFFFFF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rgbClr val="FFFFFF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1800" dirty="0" smtClean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What makes a good presentation?</a:t>
            </a:r>
            <a:endParaRPr lang="en-US" sz="1800" dirty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11" name="Textplatzhalter 5">
            <a:extLst>
              <a:ext uri="{FF2B5EF4-FFF2-40B4-BE49-F238E27FC236}">
                <a16:creationId xmlns:a16="http://schemas.microsoft.com/office/drawing/2014/main" xmlns="" id="{07259BD0-8F46-453D-852A-6EDA7FC8F2F5}"/>
              </a:ext>
            </a:extLst>
          </p:cNvPr>
          <p:cNvSpPr txBox="1">
            <a:spLocks/>
          </p:cNvSpPr>
          <p:nvPr/>
        </p:nvSpPr>
        <p:spPr>
          <a:xfrm>
            <a:off x="821018" y="2130725"/>
            <a:ext cx="4639504" cy="3830128"/>
          </a:xfrm>
          <a:prstGeom prst="rect">
            <a:avLst/>
          </a:prstGeom>
        </p:spPr>
        <p:txBody>
          <a:bodyPr/>
          <a:lstStyle>
            <a:lvl1pPr marL="285750" indent="-285750" algn="ctr" defTabSz="914400" rtl="0" eaLnBrk="1" latinLnBrk="0" hangingPunct="1">
              <a:lnSpc>
                <a:spcPts val="2400"/>
              </a:lnSpc>
              <a:spcBef>
                <a:spcPts val="1000"/>
              </a:spcBef>
              <a:buSzPct val="65000"/>
              <a:buFontTx/>
              <a:buBlip>
                <a:blip r:embed="rId4"/>
              </a:buBlip>
              <a:tabLst>
                <a:tab pos="1704975" algn="l"/>
              </a:tabLst>
              <a:defRPr lang="de-DE" sz="1600" kern="1200" dirty="0" err="1" smtClean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lang="de-DE" sz="1600" kern="1200" dirty="0" smtClean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+mn-cs"/>
              </a:defRPr>
            </a:lvl2pPr>
            <a:lvl3pPr marL="914400" marR="0" indent="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de-DE" sz="1600" kern="1200" dirty="0" smtClean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lang="de-DE" sz="1600" kern="1200" dirty="0" smtClean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lang="de-DE" sz="1600" kern="12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ts val="1800"/>
              </a:lnSpc>
              <a:buFontTx/>
              <a:buChar char="-"/>
            </a:pPr>
            <a:endParaRPr lang="de-DE" dirty="0">
              <a:solidFill>
                <a:schemeClr val="bg1">
                  <a:lumMod val="50000"/>
                </a:schemeClr>
              </a:solidFill>
            </a:endParaRPr>
          </a:p>
          <a:p>
            <a:pPr lvl="1">
              <a:lnSpc>
                <a:spcPct val="120000"/>
              </a:lnSpc>
              <a:spcBef>
                <a:spcPct val="0"/>
              </a:spcBef>
            </a:pPr>
            <a:r>
              <a:rPr lang="de-DE" altLang="de-DE" sz="1800" dirty="0" err="1"/>
              <a:t>clear</a:t>
            </a:r>
            <a:r>
              <a:rPr lang="de-DE" altLang="de-DE" sz="1800" dirty="0"/>
              <a:t> </a:t>
            </a:r>
            <a:r>
              <a:rPr lang="de-DE" altLang="de-DE" sz="1800" dirty="0" err="1"/>
              <a:t>structure</a:t>
            </a:r>
            <a:endParaRPr lang="de-DE" altLang="de-DE" sz="1800" dirty="0"/>
          </a:p>
          <a:p>
            <a:pPr lvl="1">
              <a:lnSpc>
                <a:spcPct val="120000"/>
              </a:lnSpc>
              <a:spcBef>
                <a:spcPct val="0"/>
              </a:spcBef>
            </a:pPr>
            <a:r>
              <a:rPr lang="de-DE" altLang="de-DE" sz="1800" dirty="0" err="1">
                <a:solidFill>
                  <a:schemeClr val="bg1"/>
                </a:solidFill>
              </a:rPr>
              <a:t>speak</a:t>
            </a:r>
            <a:r>
              <a:rPr lang="de-DE" altLang="de-DE" sz="1800" dirty="0">
                <a:solidFill>
                  <a:schemeClr val="bg1"/>
                </a:solidFill>
              </a:rPr>
              <a:t> </a:t>
            </a:r>
            <a:r>
              <a:rPr lang="de-DE" altLang="de-DE" sz="1800" dirty="0" err="1">
                <a:solidFill>
                  <a:schemeClr val="bg1"/>
                </a:solidFill>
              </a:rPr>
              <a:t>fluently</a:t>
            </a:r>
            <a:endParaRPr lang="de-DE" altLang="de-DE" sz="1800" dirty="0">
              <a:solidFill>
                <a:schemeClr val="bg1"/>
              </a:solidFill>
            </a:endParaRPr>
          </a:p>
          <a:p>
            <a:pPr lvl="1">
              <a:lnSpc>
                <a:spcPct val="120000"/>
              </a:lnSpc>
              <a:spcBef>
                <a:spcPct val="0"/>
              </a:spcBef>
            </a:pPr>
            <a:r>
              <a:rPr lang="de-DE" altLang="de-DE" sz="1800" dirty="0" err="1">
                <a:solidFill>
                  <a:schemeClr val="bg1"/>
                </a:solidFill>
              </a:rPr>
              <a:t>speak</a:t>
            </a:r>
            <a:r>
              <a:rPr lang="de-DE" altLang="de-DE" sz="1800" dirty="0">
                <a:solidFill>
                  <a:schemeClr val="bg1"/>
                </a:solidFill>
              </a:rPr>
              <a:t> </a:t>
            </a:r>
            <a:r>
              <a:rPr lang="de-DE" altLang="de-DE" sz="1800" dirty="0" err="1">
                <a:solidFill>
                  <a:schemeClr val="bg1"/>
                </a:solidFill>
              </a:rPr>
              <a:t>clearly</a:t>
            </a:r>
            <a:endParaRPr lang="de-DE" altLang="de-DE" sz="1800" dirty="0">
              <a:solidFill>
                <a:schemeClr val="bg1"/>
              </a:solidFill>
            </a:endParaRPr>
          </a:p>
          <a:p>
            <a:pPr lvl="1">
              <a:lnSpc>
                <a:spcPct val="120000"/>
              </a:lnSpc>
              <a:spcBef>
                <a:spcPct val="0"/>
              </a:spcBef>
            </a:pPr>
            <a:r>
              <a:rPr lang="de-DE" altLang="de-DE" sz="1800" dirty="0" err="1"/>
              <a:t>good</a:t>
            </a:r>
            <a:r>
              <a:rPr lang="de-DE" altLang="de-DE" sz="1800" dirty="0"/>
              <a:t> </a:t>
            </a:r>
            <a:r>
              <a:rPr lang="de-DE" altLang="de-DE" sz="1800" dirty="0" err="1"/>
              <a:t>body</a:t>
            </a:r>
            <a:r>
              <a:rPr lang="de-DE" altLang="de-DE" sz="1800" dirty="0"/>
              <a:t> </a:t>
            </a:r>
            <a:r>
              <a:rPr lang="de-DE" altLang="de-DE" sz="1800" dirty="0" err="1"/>
              <a:t>language</a:t>
            </a:r>
            <a:endParaRPr lang="de-DE" altLang="de-DE" sz="1800" dirty="0"/>
          </a:p>
          <a:p>
            <a:pPr lvl="1">
              <a:lnSpc>
                <a:spcPct val="120000"/>
              </a:lnSpc>
              <a:spcBef>
                <a:spcPct val="0"/>
              </a:spcBef>
            </a:pPr>
            <a:r>
              <a:rPr lang="de-DE" altLang="de-DE" sz="1800" dirty="0" err="1"/>
              <a:t>keep</a:t>
            </a:r>
            <a:r>
              <a:rPr lang="de-DE" altLang="de-DE" sz="1800" dirty="0"/>
              <a:t> </a:t>
            </a:r>
            <a:r>
              <a:rPr lang="de-DE" altLang="de-DE" sz="1800" dirty="0" err="1"/>
              <a:t>eye</a:t>
            </a:r>
            <a:r>
              <a:rPr lang="de-DE" altLang="de-DE" sz="1800" dirty="0"/>
              <a:t> </a:t>
            </a:r>
            <a:r>
              <a:rPr lang="de-DE" altLang="de-DE" sz="1800" dirty="0" err="1"/>
              <a:t>contact</a:t>
            </a:r>
            <a:endParaRPr lang="de-DE" altLang="de-DE" sz="1800" dirty="0"/>
          </a:p>
          <a:p>
            <a:pPr lvl="1">
              <a:lnSpc>
                <a:spcPct val="120000"/>
              </a:lnSpc>
              <a:spcBef>
                <a:spcPct val="0"/>
              </a:spcBef>
            </a:pPr>
            <a:r>
              <a:rPr lang="de-DE" altLang="de-DE" sz="1800" dirty="0" err="1"/>
              <a:t>audience</a:t>
            </a:r>
            <a:r>
              <a:rPr lang="de-DE" altLang="de-DE" sz="1800" dirty="0"/>
              <a:t> </a:t>
            </a:r>
            <a:r>
              <a:rPr lang="de-DE" altLang="de-DE" sz="1800" dirty="0" err="1"/>
              <a:t>involvement</a:t>
            </a:r>
            <a:endParaRPr lang="de-DE" altLang="de-DE" sz="1800" dirty="0"/>
          </a:p>
          <a:p>
            <a:pPr lvl="1">
              <a:lnSpc>
                <a:spcPct val="120000"/>
              </a:lnSpc>
              <a:spcBef>
                <a:spcPct val="0"/>
              </a:spcBef>
            </a:pPr>
            <a:r>
              <a:rPr lang="de-DE" altLang="de-DE" sz="1800" dirty="0" err="1"/>
              <a:t>good</a:t>
            </a:r>
            <a:r>
              <a:rPr lang="de-DE" altLang="de-DE" sz="1800" dirty="0"/>
              <a:t> </a:t>
            </a:r>
            <a:r>
              <a:rPr lang="de-DE" altLang="de-DE" sz="1800" dirty="0" err="1"/>
              <a:t>visuals</a:t>
            </a:r>
            <a:endParaRPr lang="de-DE" altLang="de-DE" sz="1800" dirty="0"/>
          </a:p>
          <a:p>
            <a:pPr lvl="1">
              <a:lnSpc>
                <a:spcPct val="120000"/>
              </a:lnSpc>
              <a:spcBef>
                <a:spcPct val="0"/>
              </a:spcBef>
            </a:pPr>
            <a:r>
              <a:rPr lang="de-DE" altLang="de-DE" sz="1800" dirty="0" err="1" smtClean="0"/>
              <a:t>good</a:t>
            </a:r>
            <a:r>
              <a:rPr lang="de-DE" altLang="de-DE" sz="1800" dirty="0" smtClean="0"/>
              <a:t> </a:t>
            </a:r>
            <a:r>
              <a:rPr lang="de-DE" altLang="de-DE" sz="1800" dirty="0" err="1" smtClean="0"/>
              <a:t>preparation</a:t>
            </a:r>
            <a:endParaRPr lang="de-DE" altLang="de-DE" sz="1800" dirty="0" smtClean="0"/>
          </a:p>
          <a:p>
            <a:pPr lvl="1">
              <a:lnSpc>
                <a:spcPct val="120000"/>
              </a:lnSpc>
              <a:spcBef>
                <a:spcPct val="0"/>
              </a:spcBef>
            </a:pPr>
            <a:r>
              <a:rPr lang="de-DE" altLang="de-DE" sz="1800" dirty="0" err="1" smtClean="0"/>
              <a:t>make</a:t>
            </a:r>
            <a:r>
              <a:rPr lang="de-DE" altLang="de-DE" sz="1800" dirty="0" smtClean="0"/>
              <a:t> </a:t>
            </a:r>
            <a:r>
              <a:rPr lang="de-DE" altLang="de-DE" sz="1800" dirty="0" err="1"/>
              <a:t>it</a:t>
            </a:r>
            <a:r>
              <a:rPr lang="de-DE" altLang="de-DE" sz="1800" dirty="0"/>
              <a:t> </a:t>
            </a:r>
            <a:r>
              <a:rPr lang="de-DE" altLang="de-DE" sz="1800" dirty="0" err="1"/>
              <a:t>interesting</a:t>
            </a:r>
            <a:r>
              <a:rPr lang="de-DE" altLang="de-DE" sz="1800" dirty="0"/>
              <a:t> </a:t>
            </a:r>
            <a:r>
              <a:rPr lang="de-DE" altLang="de-DE" sz="1800" dirty="0" err="1"/>
              <a:t>and</a:t>
            </a:r>
            <a:r>
              <a:rPr lang="de-DE" altLang="de-DE" sz="1800" dirty="0"/>
              <a:t> relevant</a:t>
            </a:r>
          </a:p>
          <a:p>
            <a:pPr lvl="1">
              <a:lnSpc>
                <a:spcPct val="120000"/>
              </a:lnSpc>
              <a:spcBef>
                <a:spcPct val="0"/>
              </a:spcBef>
            </a:pPr>
            <a:r>
              <a:rPr lang="de-DE" altLang="de-DE" sz="1800" dirty="0" err="1"/>
              <a:t>intonation</a:t>
            </a:r>
            <a:endParaRPr lang="de-DE" altLang="de-DE" sz="1800" dirty="0"/>
          </a:p>
          <a:p>
            <a:pPr algn="l">
              <a:lnSpc>
                <a:spcPts val="1800"/>
              </a:lnSpc>
              <a:buFontTx/>
              <a:buChar char="-"/>
            </a:pPr>
            <a:endParaRPr lang="de-DE" dirty="0">
              <a:solidFill>
                <a:schemeClr val="bg1">
                  <a:lumMod val="50000"/>
                </a:schemeClr>
              </a:solidFill>
            </a:endParaRPr>
          </a:p>
          <a:p>
            <a:pPr algn="l">
              <a:lnSpc>
                <a:spcPts val="1800"/>
              </a:lnSpc>
              <a:buFontTx/>
              <a:buChar char="-"/>
            </a:pPr>
            <a:endParaRPr lang="de-DE" dirty="0" smtClean="0">
              <a:solidFill>
                <a:schemeClr val="bg1">
                  <a:lumMod val="50000"/>
                </a:schemeClr>
              </a:solidFill>
            </a:endParaRPr>
          </a:p>
          <a:p>
            <a:pPr algn="l">
              <a:lnSpc>
                <a:spcPts val="1800"/>
              </a:lnSpc>
              <a:buFontTx/>
              <a:buChar char="-"/>
            </a:pPr>
            <a:endParaRPr lang="de-DE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14" name="Textplatzhalter 5">
            <a:extLst>
              <a:ext uri="{FF2B5EF4-FFF2-40B4-BE49-F238E27FC236}">
                <a16:creationId xmlns:a16="http://schemas.microsoft.com/office/drawing/2014/main" xmlns="" id="{E483239E-B7FF-4473-BEC7-2F375E16713D}"/>
              </a:ext>
            </a:extLst>
          </p:cNvPr>
          <p:cNvSpPr txBox="1">
            <a:spLocks/>
          </p:cNvSpPr>
          <p:nvPr/>
        </p:nvSpPr>
        <p:spPr>
          <a:xfrm>
            <a:off x="6096000" y="2501342"/>
            <a:ext cx="4830846" cy="2662842"/>
          </a:xfrm>
          <a:prstGeom prst="rect">
            <a:avLst/>
          </a:prstGeom>
        </p:spPr>
        <p:txBody>
          <a:bodyPr/>
          <a:lstStyle>
            <a:lvl1pPr marL="285750" indent="-285750" algn="ctr" defTabSz="914400" rtl="0" eaLnBrk="1" latinLnBrk="0" hangingPunct="1">
              <a:lnSpc>
                <a:spcPts val="2400"/>
              </a:lnSpc>
              <a:spcBef>
                <a:spcPts val="1000"/>
              </a:spcBef>
              <a:buSzPct val="65000"/>
              <a:buFontTx/>
              <a:buBlip>
                <a:blip r:embed="rId4"/>
              </a:buBlip>
              <a:tabLst>
                <a:tab pos="1704975" algn="l"/>
              </a:tabLst>
              <a:defRPr lang="de-DE" sz="1600" kern="1200" dirty="0" err="1" smtClean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lang="de-DE" sz="1600" kern="1200" dirty="0" smtClean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+mn-cs"/>
              </a:defRPr>
            </a:lvl2pPr>
            <a:lvl3pPr marL="914400" marR="0" indent="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de-DE" sz="1600" kern="1200" dirty="0" smtClean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lang="de-DE" sz="1600" kern="1200" dirty="0" smtClean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lang="de-DE" sz="1600" kern="12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ts val="1800"/>
              </a:lnSpc>
            </a:pPr>
            <a:endParaRPr lang="de-DE" dirty="0">
              <a:solidFill>
                <a:srgbClr val="343434"/>
              </a:solidFill>
            </a:endParaRPr>
          </a:p>
        </p:txBody>
      </p:sp>
      <p:sp>
        <p:nvSpPr>
          <p:cNvPr id="3" name="Textfeld 2"/>
          <p:cNvSpPr txBox="1"/>
          <p:nvPr/>
        </p:nvSpPr>
        <p:spPr>
          <a:xfrm>
            <a:off x="6095998" y="2449583"/>
            <a:ext cx="3927895" cy="30285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1">
              <a:lnSpc>
                <a:spcPct val="120000"/>
              </a:lnSpc>
              <a:spcBef>
                <a:spcPct val="0"/>
              </a:spcBef>
            </a:pPr>
            <a:r>
              <a:rPr lang="de-DE" altLang="de-DE" sz="1600" dirty="0" err="1"/>
              <a:t>pronunciation</a:t>
            </a:r>
            <a:endParaRPr lang="de-DE" altLang="de-DE" sz="1600" dirty="0"/>
          </a:p>
          <a:p>
            <a:pPr lvl="1">
              <a:lnSpc>
                <a:spcPct val="120000"/>
              </a:lnSpc>
              <a:spcBef>
                <a:spcPct val="0"/>
              </a:spcBef>
            </a:pPr>
            <a:r>
              <a:rPr lang="de-DE" altLang="de-DE" sz="1600" dirty="0" err="1"/>
              <a:t>be</a:t>
            </a:r>
            <a:r>
              <a:rPr lang="de-DE" altLang="de-DE" sz="1600" dirty="0"/>
              <a:t> </a:t>
            </a:r>
            <a:r>
              <a:rPr lang="de-DE" altLang="de-DE" sz="1600" dirty="0" err="1"/>
              <a:t>able</a:t>
            </a:r>
            <a:r>
              <a:rPr lang="de-DE" altLang="de-DE" sz="1600" dirty="0"/>
              <a:t> </a:t>
            </a:r>
            <a:r>
              <a:rPr lang="de-DE" altLang="de-DE" sz="1600" dirty="0" err="1"/>
              <a:t>to</a:t>
            </a:r>
            <a:r>
              <a:rPr lang="de-DE" altLang="de-DE" sz="1600" dirty="0"/>
              <a:t> </a:t>
            </a:r>
            <a:r>
              <a:rPr lang="de-DE" altLang="de-DE" sz="1600" dirty="0" err="1"/>
              <a:t>say</a:t>
            </a:r>
            <a:r>
              <a:rPr lang="de-DE" altLang="de-DE" sz="1600" dirty="0"/>
              <a:t> </a:t>
            </a:r>
            <a:r>
              <a:rPr lang="de-DE" altLang="de-DE" sz="1600" dirty="0" err="1"/>
              <a:t>it</a:t>
            </a:r>
            <a:r>
              <a:rPr lang="de-DE" altLang="de-DE" sz="1600" dirty="0"/>
              <a:t> in simple </a:t>
            </a:r>
            <a:r>
              <a:rPr lang="de-DE" altLang="de-DE" sz="1600" dirty="0" err="1" smtClean="0"/>
              <a:t>words</a:t>
            </a:r>
            <a:endParaRPr lang="de-DE" altLang="de-DE" sz="1600" dirty="0" smtClean="0"/>
          </a:p>
          <a:p>
            <a:pPr lvl="1">
              <a:lnSpc>
                <a:spcPct val="120000"/>
              </a:lnSpc>
              <a:spcBef>
                <a:spcPct val="0"/>
              </a:spcBef>
            </a:pPr>
            <a:r>
              <a:rPr lang="de-DE" altLang="de-DE" sz="1600" dirty="0"/>
              <a:t>easy </a:t>
            </a:r>
            <a:r>
              <a:rPr lang="de-DE" altLang="de-DE" sz="1600" dirty="0" err="1"/>
              <a:t>to</a:t>
            </a:r>
            <a:r>
              <a:rPr lang="de-DE" altLang="de-DE" sz="1600" dirty="0"/>
              <a:t> follow</a:t>
            </a:r>
          </a:p>
          <a:p>
            <a:pPr lvl="1">
              <a:lnSpc>
                <a:spcPct val="120000"/>
              </a:lnSpc>
              <a:spcBef>
                <a:spcPct val="0"/>
              </a:spcBef>
            </a:pPr>
            <a:r>
              <a:rPr lang="de-DE" altLang="de-DE" sz="1600" dirty="0" err="1"/>
              <a:t>no</a:t>
            </a:r>
            <a:r>
              <a:rPr lang="de-DE" altLang="de-DE" sz="1600" dirty="0"/>
              <a:t> funny </a:t>
            </a:r>
            <a:r>
              <a:rPr lang="de-DE" altLang="de-DE" sz="1600" dirty="0" err="1"/>
              <a:t>gestures</a:t>
            </a:r>
            <a:endParaRPr lang="de-DE" altLang="de-DE" sz="1600" dirty="0"/>
          </a:p>
          <a:p>
            <a:pPr lvl="1">
              <a:lnSpc>
                <a:spcPct val="120000"/>
              </a:lnSpc>
              <a:spcBef>
                <a:spcPct val="0"/>
              </a:spcBef>
            </a:pPr>
            <a:r>
              <a:rPr lang="de-DE" altLang="de-DE" sz="1600" dirty="0" err="1"/>
              <a:t>use</a:t>
            </a:r>
            <a:r>
              <a:rPr lang="de-DE" altLang="de-DE" sz="1600" dirty="0"/>
              <a:t> </a:t>
            </a:r>
            <a:r>
              <a:rPr lang="de-DE" altLang="de-DE" sz="1600" dirty="0" err="1"/>
              <a:t>of</a:t>
            </a:r>
            <a:r>
              <a:rPr lang="de-DE" altLang="de-DE" sz="1600" dirty="0"/>
              <a:t> </a:t>
            </a:r>
            <a:r>
              <a:rPr lang="de-DE" altLang="de-DE" sz="1600" dirty="0" err="1"/>
              <a:t>pauses</a:t>
            </a:r>
            <a:endParaRPr lang="de-DE" altLang="de-DE" sz="1600" dirty="0"/>
          </a:p>
          <a:p>
            <a:pPr lvl="1">
              <a:lnSpc>
                <a:spcPct val="120000"/>
              </a:lnSpc>
              <a:spcBef>
                <a:spcPct val="0"/>
              </a:spcBef>
            </a:pPr>
            <a:r>
              <a:rPr lang="de-DE" altLang="de-DE" sz="1600" dirty="0"/>
              <a:t>…</a:t>
            </a:r>
          </a:p>
          <a:p>
            <a:pPr lvl="1">
              <a:lnSpc>
                <a:spcPct val="120000"/>
              </a:lnSpc>
              <a:spcBef>
                <a:spcPct val="0"/>
              </a:spcBef>
            </a:pPr>
            <a:r>
              <a:rPr lang="de-DE" altLang="de-DE" sz="1600" dirty="0"/>
              <a:t>…</a:t>
            </a:r>
          </a:p>
          <a:p>
            <a:pPr lvl="1">
              <a:lnSpc>
                <a:spcPct val="120000"/>
              </a:lnSpc>
              <a:spcBef>
                <a:spcPct val="0"/>
              </a:spcBef>
            </a:pPr>
            <a:endParaRPr lang="de-DE" altLang="de-DE" sz="1600" dirty="0" smtClean="0"/>
          </a:p>
          <a:p>
            <a:pPr lvl="1">
              <a:lnSpc>
                <a:spcPct val="120000"/>
              </a:lnSpc>
              <a:spcBef>
                <a:spcPct val="0"/>
              </a:spcBef>
            </a:pPr>
            <a:endParaRPr lang="de-DE" altLang="de-DE" sz="1600" dirty="0"/>
          </a:p>
          <a:p>
            <a:endParaRPr lang="de-DE" dirty="0"/>
          </a:p>
        </p:txBody>
      </p:sp>
      <p:pic>
        <p:nvPicPr>
          <p:cNvPr id="5" name="Audio 4">
            <a:hlinkClick r:id="" action="ppaction://media"/>
          </p:cNvPr>
          <p:cNvPicPr>
            <a:picLocks noChangeAspect="1"/>
          </p:cNvPicPr>
          <p:nvPr>
            <a:audi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5"/>
          <a:stretch>
            <a:fillRect/>
          </a:stretch>
        </p:blipFill>
        <p:spPr>
          <a:xfrm>
            <a:off x="11488738" y="6154738"/>
            <a:ext cx="487362" cy="4873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844960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17947"/>
    </mc:Choice>
    <mc:Fallback xmlns="">
      <p:transition spd="slow" advTm="17947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 isNarration="1">
              <p:cMediaNode vol="80000" showWhenStopped="0">
                <p:cTn id="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5"/>
                </p:tgtEl>
              </p:cMediaNode>
            </p:audio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 8">
            <a:extLst>
              <a:ext uri="{FF2B5EF4-FFF2-40B4-BE49-F238E27FC236}">
                <a16:creationId xmlns:a16="http://schemas.microsoft.com/office/drawing/2014/main" xmlns="" id="{48D8A2D3-B443-4986-B1ED-38333861808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e-DE" dirty="0" smtClean="0">
                <a:solidFill>
                  <a:srgbClr val="343434"/>
                </a:solidFill>
              </a:rPr>
              <a:t>English </a:t>
            </a:r>
            <a:r>
              <a:rPr lang="de-DE" dirty="0" smtClean="0">
                <a:solidFill>
                  <a:srgbClr val="343434"/>
                </a:solidFill>
              </a:rPr>
              <a:t>III</a:t>
            </a:r>
            <a:endParaRPr lang="de-DE" dirty="0">
              <a:solidFill>
                <a:srgbClr val="343434"/>
              </a:solidFill>
            </a:endParaRPr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xmlns="" id="{18B4579A-4238-40E2-906C-8E6A9538D842}"/>
              </a:ext>
            </a:extLst>
          </p:cNvPr>
          <p:cNvSpPr txBox="1">
            <a:spLocks/>
          </p:cNvSpPr>
          <p:nvPr/>
        </p:nvSpPr>
        <p:spPr>
          <a:xfrm>
            <a:off x="852784" y="1889341"/>
            <a:ext cx="4883782" cy="330864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IN" sz="2000" b="1" kern="1200" baseline="0" dirty="0">
                <a:solidFill>
                  <a:srgbClr val="002B6A"/>
                </a:solidFill>
                <a:latin typeface="Roboto Cn" pitchFamily="2" charset="0"/>
                <a:ea typeface="Roboto Cn" pitchFamily="2" charset="0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rgbClr val="FFFFFF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+mn-cs"/>
              </a:defRPr>
            </a:lvl2pPr>
            <a:lvl3pPr marL="914400" marR="0" indent="0" algn="ctr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kern="1200">
                <a:solidFill>
                  <a:srgbClr val="FFFFFF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rgbClr val="FFFFFF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rgbClr val="FFFFFF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1800" dirty="0" smtClean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What makes a good presentation?</a:t>
            </a:r>
            <a:endParaRPr lang="en-US" sz="1800" dirty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11" name="Textplatzhalter 5">
            <a:extLst>
              <a:ext uri="{FF2B5EF4-FFF2-40B4-BE49-F238E27FC236}">
                <a16:creationId xmlns:a16="http://schemas.microsoft.com/office/drawing/2014/main" xmlns="" id="{07259BD0-8F46-453D-852A-6EDA7FC8F2F5}"/>
              </a:ext>
            </a:extLst>
          </p:cNvPr>
          <p:cNvSpPr txBox="1">
            <a:spLocks/>
          </p:cNvSpPr>
          <p:nvPr/>
        </p:nvSpPr>
        <p:spPr>
          <a:xfrm>
            <a:off x="821018" y="2130725"/>
            <a:ext cx="4639504" cy="3830128"/>
          </a:xfrm>
          <a:prstGeom prst="rect">
            <a:avLst/>
          </a:prstGeom>
        </p:spPr>
        <p:txBody>
          <a:bodyPr/>
          <a:lstStyle>
            <a:lvl1pPr marL="285750" indent="-285750" algn="ctr" defTabSz="914400" rtl="0" eaLnBrk="1" latinLnBrk="0" hangingPunct="1">
              <a:lnSpc>
                <a:spcPts val="2400"/>
              </a:lnSpc>
              <a:spcBef>
                <a:spcPts val="1000"/>
              </a:spcBef>
              <a:buSzPct val="65000"/>
              <a:buFontTx/>
              <a:buBlip>
                <a:blip r:embed="rId4"/>
              </a:buBlip>
              <a:tabLst>
                <a:tab pos="1704975" algn="l"/>
              </a:tabLst>
              <a:defRPr lang="de-DE" sz="1600" kern="1200" dirty="0" err="1" smtClean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lang="de-DE" sz="1600" kern="1200" dirty="0" smtClean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+mn-cs"/>
              </a:defRPr>
            </a:lvl2pPr>
            <a:lvl3pPr marL="914400" marR="0" indent="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de-DE" sz="1600" kern="1200" dirty="0" smtClean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lang="de-DE" sz="1600" kern="1200" dirty="0" smtClean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lang="de-DE" sz="1600" kern="12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ts val="1800"/>
              </a:lnSpc>
              <a:buFontTx/>
              <a:buChar char="-"/>
            </a:pPr>
            <a:endParaRPr lang="de-DE" dirty="0">
              <a:solidFill>
                <a:schemeClr val="bg1">
                  <a:lumMod val="50000"/>
                </a:schemeClr>
              </a:solidFill>
            </a:endParaRPr>
          </a:p>
          <a:p>
            <a:pPr lvl="1">
              <a:lnSpc>
                <a:spcPct val="120000"/>
              </a:lnSpc>
              <a:spcBef>
                <a:spcPct val="0"/>
              </a:spcBef>
            </a:pPr>
            <a:r>
              <a:rPr lang="de-DE" altLang="de-DE" sz="1800" dirty="0" err="1"/>
              <a:t>clear</a:t>
            </a:r>
            <a:r>
              <a:rPr lang="de-DE" altLang="de-DE" sz="1800" dirty="0"/>
              <a:t> </a:t>
            </a:r>
            <a:r>
              <a:rPr lang="de-DE" altLang="de-DE" sz="1800" dirty="0" err="1"/>
              <a:t>structure</a:t>
            </a:r>
            <a:endParaRPr lang="de-DE" altLang="de-DE" sz="1800" dirty="0"/>
          </a:p>
          <a:p>
            <a:pPr lvl="1">
              <a:lnSpc>
                <a:spcPct val="120000"/>
              </a:lnSpc>
              <a:spcBef>
                <a:spcPct val="0"/>
              </a:spcBef>
            </a:pPr>
            <a:r>
              <a:rPr lang="de-DE" altLang="de-DE" sz="1800" dirty="0" err="1"/>
              <a:t>speak</a:t>
            </a:r>
            <a:r>
              <a:rPr lang="de-DE" altLang="de-DE" sz="1800" dirty="0"/>
              <a:t> </a:t>
            </a:r>
            <a:r>
              <a:rPr lang="de-DE" altLang="de-DE" sz="1800" dirty="0" err="1"/>
              <a:t>fluently</a:t>
            </a:r>
            <a:endParaRPr lang="de-DE" altLang="de-DE" sz="1800" dirty="0"/>
          </a:p>
          <a:p>
            <a:pPr lvl="1">
              <a:lnSpc>
                <a:spcPct val="120000"/>
              </a:lnSpc>
              <a:spcBef>
                <a:spcPct val="0"/>
              </a:spcBef>
            </a:pPr>
            <a:r>
              <a:rPr lang="de-DE" altLang="de-DE" sz="1800" dirty="0" err="1"/>
              <a:t>speak</a:t>
            </a:r>
            <a:r>
              <a:rPr lang="de-DE" altLang="de-DE" sz="1800" dirty="0"/>
              <a:t> </a:t>
            </a:r>
            <a:r>
              <a:rPr lang="de-DE" altLang="de-DE" sz="1800" dirty="0" err="1"/>
              <a:t>clearly</a:t>
            </a:r>
            <a:endParaRPr lang="de-DE" altLang="de-DE" sz="1800" dirty="0"/>
          </a:p>
          <a:p>
            <a:pPr lvl="1">
              <a:lnSpc>
                <a:spcPct val="120000"/>
              </a:lnSpc>
              <a:spcBef>
                <a:spcPct val="0"/>
              </a:spcBef>
            </a:pPr>
            <a:r>
              <a:rPr lang="de-DE" altLang="de-DE" sz="1800" dirty="0" err="1">
                <a:solidFill>
                  <a:schemeClr val="bg1"/>
                </a:solidFill>
              </a:rPr>
              <a:t>good</a:t>
            </a:r>
            <a:r>
              <a:rPr lang="de-DE" altLang="de-DE" sz="1800" dirty="0">
                <a:solidFill>
                  <a:schemeClr val="bg1"/>
                </a:solidFill>
              </a:rPr>
              <a:t> </a:t>
            </a:r>
            <a:r>
              <a:rPr lang="de-DE" altLang="de-DE" sz="1800" dirty="0" err="1">
                <a:solidFill>
                  <a:schemeClr val="bg1"/>
                </a:solidFill>
              </a:rPr>
              <a:t>body</a:t>
            </a:r>
            <a:r>
              <a:rPr lang="de-DE" altLang="de-DE" sz="1800" dirty="0">
                <a:solidFill>
                  <a:schemeClr val="bg1"/>
                </a:solidFill>
              </a:rPr>
              <a:t> </a:t>
            </a:r>
            <a:r>
              <a:rPr lang="de-DE" altLang="de-DE" sz="1800" dirty="0" err="1">
                <a:solidFill>
                  <a:schemeClr val="bg1"/>
                </a:solidFill>
              </a:rPr>
              <a:t>language</a:t>
            </a:r>
            <a:endParaRPr lang="de-DE" altLang="de-DE" sz="1800" dirty="0">
              <a:solidFill>
                <a:schemeClr val="bg1"/>
              </a:solidFill>
            </a:endParaRPr>
          </a:p>
          <a:p>
            <a:pPr lvl="1">
              <a:lnSpc>
                <a:spcPct val="120000"/>
              </a:lnSpc>
              <a:spcBef>
                <a:spcPct val="0"/>
              </a:spcBef>
            </a:pPr>
            <a:r>
              <a:rPr lang="de-DE" altLang="de-DE" sz="1800" dirty="0" err="1"/>
              <a:t>keep</a:t>
            </a:r>
            <a:r>
              <a:rPr lang="de-DE" altLang="de-DE" sz="1800" dirty="0"/>
              <a:t> </a:t>
            </a:r>
            <a:r>
              <a:rPr lang="de-DE" altLang="de-DE" sz="1800" dirty="0" err="1"/>
              <a:t>eye</a:t>
            </a:r>
            <a:r>
              <a:rPr lang="de-DE" altLang="de-DE" sz="1800" dirty="0"/>
              <a:t> </a:t>
            </a:r>
            <a:r>
              <a:rPr lang="de-DE" altLang="de-DE" sz="1800" dirty="0" err="1"/>
              <a:t>contact</a:t>
            </a:r>
            <a:endParaRPr lang="de-DE" altLang="de-DE" sz="1800" dirty="0"/>
          </a:p>
          <a:p>
            <a:pPr lvl="1">
              <a:lnSpc>
                <a:spcPct val="120000"/>
              </a:lnSpc>
              <a:spcBef>
                <a:spcPct val="0"/>
              </a:spcBef>
            </a:pPr>
            <a:r>
              <a:rPr lang="de-DE" altLang="de-DE" sz="1800" dirty="0" err="1"/>
              <a:t>audience</a:t>
            </a:r>
            <a:r>
              <a:rPr lang="de-DE" altLang="de-DE" sz="1800" dirty="0"/>
              <a:t> </a:t>
            </a:r>
            <a:r>
              <a:rPr lang="de-DE" altLang="de-DE" sz="1800" dirty="0" err="1"/>
              <a:t>involvement</a:t>
            </a:r>
            <a:endParaRPr lang="de-DE" altLang="de-DE" sz="1800" dirty="0"/>
          </a:p>
          <a:p>
            <a:pPr lvl="1">
              <a:lnSpc>
                <a:spcPct val="120000"/>
              </a:lnSpc>
              <a:spcBef>
                <a:spcPct val="0"/>
              </a:spcBef>
            </a:pPr>
            <a:r>
              <a:rPr lang="de-DE" altLang="de-DE" sz="1800" dirty="0" err="1"/>
              <a:t>good</a:t>
            </a:r>
            <a:r>
              <a:rPr lang="de-DE" altLang="de-DE" sz="1800" dirty="0"/>
              <a:t> </a:t>
            </a:r>
            <a:r>
              <a:rPr lang="de-DE" altLang="de-DE" sz="1800" dirty="0" err="1"/>
              <a:t>visuals</a:t>
            </a:r>
            <a:endParaRPr lang="de-DE" altLang="de-DE" sz="1800" dirty="0"/>
          </a:p>
          <a:p>
            <a:pPr lvl="1">
              <a:lnSpc>
                <a:spcPct val="120000"/>
              </a:lnSpc>
              <a:spcBef>
                <a:spcPct val="0"/>
              </a:spcBef>
            </a:pPr>
            <a:r>
              <a:rPr lang="de-DE" altLang="de-DE" sz="1800" dirty="0" err="1" smtClean="0"/>
              <a:t>good</a:t>
            </a:r>
            <a:r>
              <a:rPr lang="de-DE" altLang="de-DE" sz="1800" dirty="0" smtClean="0"/>
              <a:t> </a:t>
            </a:r>
            <a:r>
              <a:rPr lang="de-DE" altLang="de-DE" sz="1800" dirty="0" err="1" smtClean="0"/>
              <a:t>preparation</a:t>
            </a:r>
            <a:endParaRPr lang="de-DE" altLang="de-DE" sz="1800" dirty="0" smtClean="0"/>
          </a:p>
          <a:p>
            <a:pPr lvl="1">
              <a:lnSpc>
                <a:spcPct val="120000"/>
              </a:lnSpc>
              <a:spcBef>
                <a:spcPct val="0"/>
              </a:spcBef>
            </a:pPr>
            <a:r>
              <a:rPr lang="de-DE" altLang="de-DE" sz="1800" dirty="0" err="1" smtClean="0"/>
              <a:t>make</a:t>
            </a:r>
            <a:r>
              <a:rPr lang="de-DE" altLang="de-DE" sz="1800" dirty="0" smtClean="0"/>
              <a:t> </a:t>
            </a:r>
            <a:r>
              <a:rPr lang="de-DE" altLang="de-DE" sz="1800" dirty="0" err="1"/>
              <a:t>it</a:t>
            </a:r>
            <a:r>
              <a:rPr lang="de-DE" altLang="de-DE" sz="1800" dirty="0"/>
              <a:t> </a:t>
            </a:r>
            <a:r>
              <a:rPr lang="de-DE" altLang="de-DE" sz="1800" dirty="0" err="1"/>
              <a:t>interesting</a:t>
            </a:r>
            <a:r>
              <a:rPr lang="de-DE" altLang="de-DE" sz="1800" dirty="0"/>
              <a:t> </a:t>
            </a:r>
            <a:r>
              <a:rPr lang="de-DE" altLang="de-DE" sz="1800" dirty="0" err="1"/>
              <a:t>and</a:t>
            </a:r>
            <a:r>
              <a:rPr lang="de-DE" altLang="de-DE" sz="1800" dirty="0"/>
              <a:t> relevant</a:t>
            </a:r>
          </a:p>
          <a:p>
            <a:pPr lvl="1">
              <a:lnSpc>
                <a:spcPct val="120000"/>
              </a:lnSpc>
              <a:spcBef>
                <a:spcPct val="0"/>
              </a:spcBef>
            </a:pPr>
            <a:r>
              <a:rPr lang="de-DE" altLang="de-DE" sz="1800" dirty="0" err="1"/>
              <a:t>intonation</a:t>
            </a:r>
            <a:endParaRPr lang="de-DE" altLang="de-DE" sz="1800" dirty="0"/>
          </a:p>
          <a:p>
            <a:pPr algn="l">
              <a:lnSpc>
                <a:spcPts val="1800"/>
              </a:lnSpc>
              <a:buFontTx/>
              <a:buChar char="-"/>
            </a:pPr>
            <a:endParaRPr lang="de-DE" dirty="0">
              <a:solidFill>
                <a:schemeClr val="bg1">
                  <a:lumMod val="50000"/>
                </a:schemeClr>
              </a:solidFill>
            </a:endParaRPr>
          </a:p>
          <a:p>
            <a:pPr algn="l">
              <a:lnSpc>
                <a:spcPts val="1800"/>
              </a:lnSpc>
              <a:buFontTx/>
              <a:buChar char="-"/>
            </a:pPr>
            <a:endParaRPr lang="de-DE" dirty="0" smtClean="0">
              <a:solidFill>
                <a:schemeClr val="bg1">
                  <a:lumMod val="50000"/>
                </a:schemeClr>
              </a:solidFill>
            </a:endParaRPr>
          </a:p>
          <a:p>
            <a:pPr algn="l">
              <a:lnSpc>
                <a:spcPts val="1800"/>
              </a:lnSpc>
              <a:buFontTx/>
              <a:buChar char="-"/>
            </a:pPr>
            <a:endParaRPr lang="de-DE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14" name="Textplatzhalter 5">
            <a:extLst>
              <a:ext uri="{FF2B5EF4-FFF2-40B4-BE49-F238E27FC236}">
                <a16:creationId xmlns:a16="http://schemas.microsoft.com/office/drawing/2014/main" xmlns="" id="{E483239E-B7FF-4473-BEC7-2F375E16713D}"/>
              </a:ext>
            </a:extLst>
          </p:cNvPr>
          <p:cNvSpPr txBox="1">
            <a:spLocks/>
          </p:cNvSpPr>
          <p:nvPr/>
        </p:nvSpPr>
        <p:spPr>
          <a:xfrm>
            <a:off x="6096000" y="2501342"/>
            <a:ext cx="4830846" cy="2662842"/>
          </a:xfrm>
          <a:prstGeom prst="rect">
            <a:avLst/>
          </a:prstGeom>
        </p:spPr>
        <p:txBody>
          <a:bodyPr/>
          <a:lstStyle>
            <a:lvl1pPr marL="285750" indent="-285750" algn="ctr" defTabSz="914400" rtl="0" eaLnBrk="1" latinLnBrk="0" hangingPunct="1">
              <a:lnSpc>
                <a:spcPts val="2400"/>
              </a:lnSpc>
              <a:spcBef>
                <a:spcPts val="1000"/>
              </a:spcBef>
              <a:buSzPct val="65000"/>
              <a:buFontTx/>
              <a:buBlip>
                <a:blip r:embed="rId4"/>
              </a:buBlip>
              <a:tabLst>
                <a:tab pos="1704975" algn="l"/>
              </a:tabLst>
              <a:defRPr lang="de-DE" sz="1600" kern="1200" dirty="0" err="1" smtClean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lang="de-DE" sz="1600" kern="1200" dirty="0" smtClean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+mn-cs"/>
              </a:defRPr>
            </a:lvl2pPr>
            <a:lvl3pPr marL="914400" marR="0" indent="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de-DE" sz="1600" kern="1200" dirty="0" smtClean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lang="de-DE" sz="1600" kern="1200" dirty="0" smtClean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lang="de-DE" sz="1600" kern="12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ts val="1800"/>
              </a:lnSpc>
            </a:pPr>
            <a:endParaRPr lang="de-DE" dirty="0">
              <a:solidFill>
                <a:srgbClr val="343434"/>
              </a:solidFill>
            </a:endParaRPr>
          </a:p>
        </p:txBody>
      </p:sp>
      <p:sp>
        <p:nvSpPr>
          <p:cNvPr id="3" name="Textfeld 2"/>
          <p:cNvSpPr txBox="1"/>
          <p:nvPr/>
        </p:nvSpPr>
        <p:spPr>
          <a:xfrm>
            <a:off x="6095998" y="2449583"/>
            <a:ext cx="3927895" cy="30285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1">
              <a:lnSpc>
                <a:spcPct val="120000"/>
              </a:lnSpc>
              <a:spcBef>
                <a:spcPct val="0"/>
              </a:spcBef>
            </a:pPr>
            <a:r>
              <a:rPr lang="de-DE" altLang="de-DE" sz="1600" dirty="0" err="1"/>
              <a:t>pronunciation</a:t>
            </a:r>
            <a:endParaRPr lang="de-DE" altLang="de-DE" sz="1600" dirty="0"/>
          </a:p>
          <a:p>
            <a:pPr lvl="1">
              <a:lnSpc>
                <a:spcPct val="120000"/>
              </a:lnSpc>
              <a:spcBef>
                <a:spcPct val="0"/>
              </a:spcBef>
            </a:pPr>
            <a:r>
              <a:rPr lang="de-DE" altLang="de-DE" sz="1600" dirty="0" err="1"/>
              <a:t>be</a:t>
            </a:r>
            <a:r>
              <a:rPr lang="de-DE" altLang="de-DE" sz="1600" dirty="0"/>
              <a:t> </a:t>
            </a:r>
            <a:r>
              <a:rPr lang="de-DE" altLang="de-DE" sz="1600" dirty="0" err="1"/>
              <a:t>able</a:t>
            </a:r>
            <a:r>
              <a:rPr lang="de-DE" altLang="de-DE" sz="1600" dirty="0"/>
              <a:t> </a:t>
            </a:r>
            <a:r>
              <a:rPr lang="de-DE" altLang="de-DE" sz="1600" dirty="0" err="1"/>
              <a:t>to</a:t>
            </a:r>
            <a:r>
              <a:rPr lang="de-DE" altLang="de-DE" sz="1600" dirty="0"/>
              <a:t> </a:t>
            </a:r>
            <a:r>
              <a:rPr lang="de-DE" altLang="de-DE" sz="1600" dirty="0" err="1"/>
              <a:t>say</a:t>
            </a:r>
            <a:r>
              <a:rPr lang="de-DE" altLang="de-DE" sz="1600" dirty="0"/>
              <a:t> </a:t>
            </a:r>
            <a:r>
              <a:rPr lang="de-DE" altLang="de-DE" sz="1600" dirty="0" err="1"/>
              <a:t>it</a:t>
            </a:r>
            <a:r>
              <a:rPr lang="de-DE" altLang="de-DE" sz="1600" dirty="0"/>
              <a:t> in simple </a:t>
            </a:r>
            <a:r>
              <a:rPr lang="de-DE" altLang="de-DE" sz="1600" dirty="0" err="1" smtClean="0"/>
              <a:t>words</a:t>
            </a:r>
            <a:endParaRPr lang="de-DE" altLang="de-DE" sz="1600" dirty="0" smtClean="0"/>
          </a:p>
          <a:p>
            <a:pPr lvl="1">
              <a:lnSpc>
                <a:spcPct val="120000"/>
              </a:lnSpc>
              <a:spcBef>
                <a:spcPct val="0"/>
              </a:spcBef>
            </a:pPr>
            <a:r>
              <a:rPr lang="de-DE" altLang="de-DE" sz="1600" dirty="0"/>
              <a:t>easy </a:t>
            </a:r>
            <a:r>
              <a:rPr lang="de-DE" altLang="de-DE" sz="1600" dirty="0" err="1"/>
              <a:t>to</a:t>
            </a:r>
            <a:r>
              <a:rPr lang="de-DE" altLang="de-DE" sz="1600" dirty="0"/>
              <a:t> follow</a:t>
            </a:r>
          </a:p>
          <a:p>
            <a:pPr lvl="1">
              <a:lnSpc>
                <a:spcPct val="120000"/>
              </a:lnSpc>
              <a:spcBef>
                <a:spcPct val="0"/>
              </a:spcBef>
            </a:pPr>
            <a:r>
              <a:rPr lang="de-DE" altLang="de-DE" sz="1600" dirty="0" err="1"/>
              <a:t>no</a:t>
            </a:r>
            <a:r>
              <a:rPr lang="de-DE" altLang="de-DE" sz="1600" dirty="0"/>
              <a:t> funny </a:t>
            </a:r>
            <a:r>
              <a:rPr lang="de-DE" altLang="de-DE" sz="1600" dirty="0" err="1"/>
              <a:t>gestures</a:t>
            </a:r>
            <a:endParaRPr lang="de-DE" altLang="de-DE" sz="1600" dirty="0"/>
          </a:p>
          <a:p>
            <a:pPr lvl="1">
              <a:lnSpc>
                <a:spcPct val="120000"/>
              </a:lnSpc>
              <a:spcBef>
                <a:spcPct val="0"/>
              </a:spcBef>
            </a:pPr>
            <a:r>
              <a:rPr lang="de-DE" altLang="de-DE" sz="1600" dirty="0" err="1"/>
              <a:t>use</a:t>
            </a:r>
            <a:r>
              <a:rPr lang="de-DE" altLang="de-DE" sz="1600" dirty="0"/>
              <a:t> </a:t>
            </a:r>
            <a:r>
              <a:rPr lang="de-DE" altLang="de-DE" sz="1600" dirty="0" err="1"/>
              <a:t>of</a:t>
            </a:r>
            <a:r>
              <a:rPr lang="de-DE" altLang="de-DE" sz="1600" dirty="0"/>
              <a:t> </a:t>
            </a:r>
            <a:r>
              <a:rPr lang="de-DE" altLang="de-DE" sz="1600" dirty="0" err="1"/>
              <a:t>pauses</a:t>
            </a:r>
            <a:endParaRPr lang="de-DE" altLang="de-DE" sz="1600" dirty="0"/>
          </a:p>
          <a:p>
            <a:pPr lvl="1">
              <a:lnSpc>
                <a:spcPct val="120000"/>
              </a:lnSpc>
              <a:spcBef>
                <a:spcPct val="0"/>
              </a:spcBef>
            </a:pPr>
            <a:r>
              <a:rPr lang="de-DE" altLang="de-DE" sz="1600" dirty="0"/>
              <a:t>…</a:t>
            </a:r>
          </a:p>
          <a:p>
            <a:pPr lvl="1">
              <a:lnSpc>
                <a:spcPct val="120000"/>
              </a:lnSpc>
              <a:spcBef>
                <a:spcPct val="0"/>
              </a:spcBef>
            </a:pPr>
            <a:r>
              <a:rPr lang="de-DE" altLang="de-DE" sz="1600" dirty="0"/>
              <a:t>…</a:t>
            </a:r>
          </a:p>
          <a:p>
            <a:pPr lvl="1">
              <a:lnSpc>
                <a:spcPct val="120000"/>
              </a:lnSpc>
              <a:spcBef>
                <a:spcPct val="0"/>
              </a:spcBef>
            </a:pPr>
            <a:endParaRPr lang="de-DE" altLang="de-DE" sz="1600" dirty="0" smtClean="0"/>
          </a:p>
          <a:p>
            <a:pPr lvl="1">
              <a:lnSpc>
                <a:spcPct val="120000"/>
              </a:lnSpc>
              <a:spcBef>
                <a:spcPct val="0"/>
              </a:spcBef>
            </a:pPr>
            <a:endParaRPr lang="de-DE" altLang="de-DE" sz="1600" dirty="0"/>
          </a:p>
          <a:p>
            <a:endParaRPr lang="de-DE" dirty="0"/>
          </a:p>
        </p:txBody>
      </p:sp>
      <p:pic>
        <p:nvPicPr>
          <p:cNvPr id="2" name="Audio 1">
            <a:hlinkClick r:id="" action="ppaction://media"/>
          </p:cNvPr>
          <p:cNvPicPr>
            <a:picLocks noChangeAspect="1"/>
          </p:cNvPicPr>
          <p:nvPr>
            <a:audi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5"/>
          <a:stretch>
            <a:fillRect/>
          </a:stretch>
        </p:blipFill>
        <p:spPr>
          <a:xfrm>
            <a:off x="11488738" y="6154738"/>
            <a:ext cx="487362" cy="4873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774190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16252"/>
    </mc:Choice>
    <mc:Fallback xmlns="">
      <p:transition spd="slow" advTm="16252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 isNarration="1">
              <p:cMediaNode vol="80000" showWhenStopped="0">
                <p:cTn id="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2"/>
                </p:tgtEl>
              </p:cMediaNode>
            </p:audio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 8">
            <a:extLst>
              <a:ext uri="{FF2B5EF4-FFF2-40B4-BE49-F238E27FC236}">
                <a16:creationId xmlns:a16="http://schemas.microsoft.com/office/drawing/2014/main" xmlns="" id="{48D8A2D3-B443-4986-B1ED-38333861808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e-DE" dirty="0" smtClean="0">
                <a:solidFill>
                  <a:srgbClr val="343434"/>
                </a:solidFill>
              </a:rPr>
              <a:t>English </a:t>
            </a:r>
            <a:r>
              <a:rPr lang="de-DE" dirty="0" smtClean="0">
                <a:solidFill>
                  <a:srgbClr val="343434"/>
                </a:solidFill>
              </a:rPr>
              <a:t>III</a:t>
            </a:r>
            <a:endParaRPr lang="de-DE" dirty="0">
              <a:solidFill>
                <a:srgbClr val="343434"/>
              </a:solidFill>
            </a:endParaRPr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xmlns="" id="{18B4579A-4238-40E2-906C-8E6A9538D842}"/>
              </a:ext>
            </a:extLst>
          </p:cNvPr>
          <p:cNvSpPr txBox="1">
            <a:spLocks/>
          </p:cNvSpPr>
          <p:nvPr/>
        </p:nvSpPr>
        <p:spPr>
          <a:xfrm>
            <a:off x="852784" y="1889341"/>
            <a:ext cx="4883782" cy="330864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IN" sz="2000" b="1" kern="1200" baseline="0" dirty="0">
                <a:solidFill>
                  <a:srgbClr val="002B6A"/>
                </a:solidFill>
                <a:latin typeface="Roboto Cn" pitchFamily="2" charset="0"/>
                <a:ea typeface="Roboto Cn" pitchFamily="2" charset="0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rgbClr val="FFFFFF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+mn-cs"/>
              </a:defRPr>
            </a:lvl2pPr>
            <a:lvl3pPr marL="914400" marR="0" indent="0" algn="ctr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kern="1200">
                <a:solidFill>
                  <a:srgbClr val="FFFFFF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rgbClr val="FFFFFF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rgbClr val="FFFFFF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1800" dirty="0" smtClean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What makes a good presentation?</a:t>
            </a:r>
            <a:endParaRPr lang="en-US" sz="1800" dirty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11" name="Textplatzhalter 5">
            <a:extLst>
              <a:ext uri="{FF2B5EF4-FFF2-40B4-BE49-F238E27FC236}">
                <a16:creationId xmlns:a16="http://schemas.microsoft.com/office/drawing/2014/main" xmlns="" id="{07259BD0-8F46-453D-852A-6EDA7FC8F2F5}"/>
              </a:ext>
            </a:extLst>
          </p:cNvPr>
          <p:cNvSpPr txBox="1">
            <a:spLocks/>
          </p:cNvSpPr>
          <p:nvPr/>
        </p:nvSpPr>
        <p:spPr>
          <a:xfrm>
            <a:off x="821018" y="2130725"/>
            <a:ext cx="4639504" cy="3830128"/>
          </a:xfrm>
          <a:prstGeom prst="rect">
            <a:avLst/>
          </a:prstGeom>
        </p:spPr>
        <p:txBody>
          <a:bodyPr/>
          <a:lstStyle>
            <a:lvl1pPr marL="285750" indent="-285750" algn="ctr" defTabSz="914400" rtl="0" eaLnBrk="1" latinLnBrk="0" hangingPunct="1">
              <a:lnSpc>
                <a:spcPts val="2400"/>
              </a:lnSpc>
              <a:spcBef>
                <a:spcPts val="1000"/>
              </a:spcBef>
              <a:buSzPct val="65000"/>
              <a:buFontTx/>
              <a:buBlip>
                <a:blip r:embed="rId4"/>
              </a:buBlip>
              <a:tabLst>
                <a:tab pos="1704975" algn="l"/>
              </a:tabLst>
              <a:defRPr lang="de-DE" sz="1600" kern="1200" dirty="0" err="1" smtClean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lang="de-DE" sz="1600" kern="1200" dirty="0" smtClean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+mn-cs"/>
              </a:defRPr>
            </a:lvl2pPr>
            <a:lvl3pPr marL="914400" marR="0" indent="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de-DE" sz="1600" kern="1200" dirty="0" smtClean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lang="de-DE" sz="1600" kern="1200" dirty="0" smtClean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lang="de-DE" sz="1600" kern="12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ts val="1800"/>
              </a:lnSpc>
              <a:buFontTx/>
              <a:buChar char="-"/>
            </a:pPr>
            <a:endParaRPr lang="de-DE" dirty="0">
              <a:solidFill>
                <a:schemeClr val="bg1">
                  <a:lumMod val="50000"/>
                </a:schemeClr>
              </a:solidFill>
            </a:endParaRPr>
          </a:p>
          <a:p>
            <a:pPr lvl="1">
              <a:lnSpc>
                <a:spcPct val="120000"/>
              </a:lnSpc>
              <a:spcBef>
                <a:spcPct val="0"/>
              </a:spcBef>
            </a:pPr>
            <a:r>
              <a:rPr lang="de-DE" altLang="de-DE" sz="1800" dirty="0" err="1"/>
              <a:t>clear</a:t>
            </a:r>
            <a:r>
              <a:rPr lang="de-DE" altLang="de-DE" sz="1800" dirty="0"/>
              <a:t> </a:t>
            </a:r>
            <a:r>
              <a:rPr lang="de-DE" altLang="de-DE" sz="1800" dirty="0" err="1"/>
              <a:t>structure</a:t>
            </a:r>
            <a:endParaRPr lang="de-DE" altLang="de-DE" sz="1800" dirty="0"/>
          </a:p>
          <a:p>
            <a:pPr lvl="1">
              <a:lnSpc>
                <a:spcPct val="120000"/>
              </a:lnSpc>
              <a:spcBef>
                <a:spcPct val="0"/>
              </a:spcBef>
            </a:pPr>
            <a:r>
              <a:rPr lang="de-DE" altLang="de-DE" sz="1800" dirty="0" err="1"/>
              <a:t>speak</a:t>
            </a:r>
            <a:r>
              <a:rPr lang="de-DE" altLang="de-DE" sz="1800" dirty="0"/>
              <a:t> </a:t>
            </a:r>
            <a:r>
              <a:rPr lang="de-DE" altLang="de-DE" sz="1800" dirty="0" err="1"/>
              <a:t>fluently</a:t>
            </a:r>
            <a:endParaRPr lang="de-DE" altLang="de-DE" sz="1800" dirty="0"/>
          </a:p>
          <a:p>
            <a:pPr lvl="1">
              <a:lnSpc>
                <a:spcPct val="120000"/>
              </a:lnSpc>
              <a:spcBef>
                <a:spcPct val="0"/>
              </a:spcBef>
            </a:pPr>
            <a:r>
              <a:rPr lang="de-DE" altLang="de-DE" sz="1800" dirty="0" err="1"/>
              <a:t>speak</a:t>
            </a:r>
            <a:r>
              <a:rPr lang="de-DE" altLang="de-DE" sz="1800" dirty="0"/>
              <a:t> </a:t>
            </a:r>
            <a:r>
              <a:rPr lang="de-DE" altLang="de-DE" sz="1800" dirty="0" err="1"/>
              <a:t>clearly</a:t>
            </a:r>
            <a:endParaRPr lang="de-DE" altLang="de-DE" sz="1800" dirty="0"/>
          </a:p>
          <a:p>
            <a:pPr lvl="1">
              <a:lnSpc>
                <a:spcPct val="120000"/>
              </a:lnSpc>
              <a:spcBef>
                <a:spcPct val="0"/>
              </a:spcBef>
            </a:pPr>
            <a:r>
              <a:rPr lang="de-DE" altLang="de-DE" sz="1800" dirty="0" err="1"/>
              <a:t>good</a:t>
            </a:r>
            <a:r>
              <a:rPr lang="de-DE" altLang="de-DE" sz="1800" dirty="0"/>
              <a:t> </a:t>
            </a:r>
            <a:r>
              <a:rPr lang="de-DE" altLang="de-DE" sz="1800" dirty="0" err="1"/>
              <a:t>body</a:t>
            </a:r>
            <a:r>
              <a:rPr lang="de-DE" altLang="de-DE" sz="1800" dirty="0"/>
              <a:t> </a:t>
            </a:r>
            <a:r>
              <a:rPr lang="de-DE" altLang="de-DE" sz="1800" dirty="0" err="1"/>
              <a:t>language</a:t>
            </a:r>
            <a:endParaRPr lang="de-DE" altLang="de-DE" sz="1800" dirty="0"/>
          </a:p>
          <a:p>
            <a:pPr lvl="1">
              <a:lnSpc>
                <a:spcPct val="120000"/>
              </a:lnSpc>
              <a:spcBef>
                <a:spcPct val="0"/>
              </a:spcBef>
            </a:pPr>
            <a:r>
              <a:rPr lang="de-DE" altLang="de-DE" sz="1800" dirty="0" err="1">
                <a:solidFill>
                  <a:schemeClr val="bg1"/>
                </a:solidFill>
              </a:rPr>
              <a:t>keep</a:t>
            </a:r>
            <a:r>
              <a:rPr lang="de-DE" altLang="de-DE" sz="1800" dirty="0">
                <a:solidFill>
                  <a:schemeClr val="bg1"/>
                </a:solidFill>
              </a:rPr>
              <a:t> </a:t>
            </a:r>
            <a:r>
              <a:rPr lang="de-DE" altLang="de-DE" sz="1800" dirty="0" err="1">
                <a:solidFill>
                  <a:schemeClr val="bg1"/>
                </a:solidFill>
              </a:rPr>
              <a:t>eye</a:t>
            </a:r>
            <a:r>
              <a:rPr lang="de-DE" altLang="de-DE" sz="1800" dirty="0">
                <a:solidFill>
                  <a:schemeClr val="bg1"/>
                </a:solidFill>
              </a:rPr>
              <a:t> </a:t>
            </a:r>
            <a:r>
              <a:rPr lang="de-DE" altLang="de-DE" sz="1800" dirty="0" err="1">
                <a:solidFill>
                  <a:schemeClr val="bg1"/>
                </a:solidFill>
              </a:rPr>
              <a:t>contact</a:t>
            </a:r>
            <a:endParaRPr lang="de-DE" altLang="de-DE" sz="1800" dirty="0">
              <a:solidFill>
                <a:schemeClr val="bg1"/>
              </a:solidFill>
            </a:endParaRPr>
          </a:p>
          <a:p>
            <a:pPr lvl="1">
              <a:lnSpc>
                <a:spcPct val="120000"/>
              </a:lnSpc>
              <a:spcBef>
                <a:spcPct val="0"/>
              </a:spcBef>
            </a:pPr>
            <a:r>
              <a:rPr lang="de-DE" altLang="de-DE" sz="1800" dirty="0" err="1"/>
              <a:t>audience</a:t>
            </a:r>
            <a:r>
              <a:rPr lang="de-DE" altLang="de-DE" sz="1800" dirty="0"/>
              <a:t> </a:t>
            </a:r>
            <a:r>
              <a:rPr lang="de-DE" altLang="de-DE" sz="1800" dirty="0" err="1"/>
              <a:t>involvement</a:t>
            </a:r>
            <a:endParaRPr lang="de-DE" altLang="de-DE" sz="1800" dirty="0"/>
          </a:p>
          <a:p>
            <a:pPr lvl="1">
              <a:lnSpc>
                <a:spcPct val="120000"/>
              </a:lnSpc>
              <a:spcBef>
                <a:spcPct val="0"/>
              </a:spcBef>
            </a:pPr>
            <a:r>
              <a:rPr lang="de-DE" altLang="de-DE" sz="1800" dirty="0" err="1"/>
              <a:t>good</a:t>
            </a:r>
            <a:r>
              <a:rPr lang="de-DE" altLang="de-DE" sz="1800" dirty="0"/>
              <a:t> </a:t>
            </a:r>
            <a:r>
              <a:rPr lang="de-DE" altLang="de-DE" sz="1800" dirty="0" err="1"/>
              <a:t>visuals</a:t>
            </a:r>
            <a:endParaRPr lang="de-DE" altLang="de-DE" sz="1800" dirty="0"/>
          </a:p>
          <a:p>
            <a:pPr lvl="1">
              <a:lnSpc>
                <a:spcPct val="120000"/>
              </a:lnSpc>
              <a:spcBef>
                <a:spcPct val="0"/>
              </a:spcBef>
            </a:pPr>
            <a:r>
              <a:rPr lang="de-DE" altLang="de-DE" sz="1800" dirty="0" err="1" smtClean="0"/>
              <a:t>good</a:t>
            </a:r>
            <a:r>
              <a:rPr lang="de-DE" altLang="de-DE" sz="1800" dirty="0" smtClean="0"/>
              <a:t> </a:t>
            </a:r>
            <a:r>
              <a:rPr lang="de-DE" altLang="de-DE" sz="1800" dirty="0" err="1" smtClean="0"/>
              <a:t>preparation</a:t>
            </a:r>
            <a:endParaRPr lang="de-DE" altLang="de-DE" sz="1800" dirty="0" smtClean="0"/>
          </a:p>
          <a:p>
            <a:pPr lvl="1">
              <a:lnSpc>
                <a:spcPct val="120000"/>
              </a:lnSpc>
              <a:spcBef>
                <a:spcPct val="0"/>
              </a:spcBef>
            </a:pPr>
            <a:r>
              <a:rPr lang="de-DE" altLang="de-DE" sz="1800" dirty="0" err="1" smtClean="0"/>
              <a:t>make</a:t>
            </a:r>
            <a:r>
              <a:rPr lang="de-DE" altLang="de-DE" sz="1800" dirty="0" smtClean="0"/>
              <a:t> </a:t>
            </a:r>
            <a:r>
              <a:rPr lang="de-DE" altLang="de-DE" sz="1800" dirty="0" err="1"/>
              <a:t>it</a:t>
            </a:r>
            <a:r>
              <a:rPr lang="de-DE" altLang="de-DE" sz="1800" dirty="0"/>
              <a:t> </a:t>
            </a:r>
            <a:r>
              <a:rPr lang="de-DE" altLang="de-DE" sz="1800" dirty="0" err="1"/>
              <a:t>interesting</a:t>
            </a:r>
            <a:r>
              <a:rPr lang="de-DE" altLang="de-DE" sz="1800" dirty="0"/>
              <a:t> </a:t>
            </a:r>
            <a:r>
              <a:rPr lang="de-DE" altLang="de-DE" sz="1800" dirty="0" err="1"/>
              <a:t>and</a:t>
            </a:r>
            <a:r>
              <a:rPr lang="de-DE" altLang="de-DE" sz="1800" dirty="0"/>
              <a:t> relevant</a:t>
            </a:r>
          </a:p>
          <a:p>
            <a:pPr lvl="1">
              <a:lnSpc>
                <a:spcPct val="120000"/>
              </a:lnSpc>
              <a:spcBef>
                <a:spcPct val="0"/>
              </a:spcBef>
            </a:pPr>
            <a:r>
              <a:rPr lang="de-DE" altLang="de-DE" sz="1800" dirty="0" err="1"/>
              <a:t>intonation</a:t>
            </a:r>
            <a:endParaRPr lang="de-DE" altLang="de-DE" sz="1800" dirty="0"/>
          </a:p>
          <a:p>
            <a:pPr algn="l">
              <a:lnSpc>
                <a:spcPts val="1800"/>
              </a:lnSpc>
              <a:buFontTx/>
              <a:buChar char="-"/>
            </a:pPr>
            <a:endParaRPr lang="de-DE" dirty="0">
              <a:solidFill>
                <a:schemeClr val="bg1">
                  <a:lumMod val="50000"/>
                </a:schemeClr>
              </a:solidFill>
            </a:endParaRPr>
          </a:p>
          <a:p>
            <a:pPr algn="l">
              <a:lnSpc>
                <a:spcPts val="1800"/>
              </a:lnSpc>
              <a:buFontTx/>
              <a:buChar char="-"/>
            </a:pPr>
            <a:endParaRPr lang="de-DE" dirty="0" smtClean="0">
              <a:solidFill>
                <a:schemeClr val="bg1">
                  <a:lumMod val="50000"/>
                </a:schemeClr>
              </a:solidFill>
            </a:endParaRPr>
          </a:p>
          <a:p>
            <a:pPr algn="l">
              <a:lnSpc>
                <a:spcPts val="1800"/>
              </a:lnSpc>
              <a:buFontTx/>
              <a:buChar char="-"/>
            </a:pPr>
            <a:endParaRPr lang="de-DE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14" name="Textplatzhalter 5">
            <a:extLst>
              <a:ext uri="{FF2B5EF4-FFF2-40B4-BE49-F238E27FC236}">
                <a16:creationId xmlns:a16="http://schemas.microsoft.com/office/drawing/2014/main" xmlns="" id="{E483239E-B7FF-4473-BEC7-2F375E16713D}"/>
              </a:ext>
            </a:extLst>
          </p:cNvPr>
          <p:cNvSpPr txBox="1">
            <a:spLocks/>
          </p:cNvSpPr>
          <p:nvPr/>
        </p:nvSpPr>
        <p:spPr>
          <a:xfrm>
            <a:off x="6096000" y="2501342"/>
            <a:ext cx="4830846" cy="2662842"/>
          </a:xfrm>
          <a:prstGeom prst="rect">
            <a:avLst/>
          </a:prstGeom>
        </p:spPr>
        <p:txBody>
          <a:bodyPr/>
          <a:lstStyle>
            <a:lvl1pPr marL="285750" indent="-285750" algn="ctr" defTabSz="914400" rtl="0" eaLnBrk="1" latinLnBrk="0" hangingPunct="1">
              <a:lnSpc>
                <a:spcPts val="2400"/>
              </a:lnSpc>
              <a:spcBef>
                <a:spcPts val="1000"/>
              </a:spcBef>
              <a:buSzPct val="65000"/>
              <a:buFontTx/>
              <a:buBlip>
                <a:blip r:embed="rId4"/>
              </a:buBlip>
              <a:tabLst>
                <a:tab pos="1704975" algn="l"/>
              </a:tabLst>
              <a:defRPr lang="de-DE" sz="1600" kern="1200" dirty="0" err="1" smtClean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lang="de-DE" sz="1600" kern="1200" dirty="0" smtClean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+mn-cs"/>
              </a:defRPr>
            </a:lvl2pPr>
            <a:lvl3pPr marL="914400" marR="0" indent="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de-DE" sz="1600" kern="1200" dirty="0" smtClean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lang="de-DE" sz="1600" kern="1200" dirty="0" smtClean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lang="de-DE" sz="1600" kern="12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ts val="1800"/>
              </a:lnSpc>
            </a:pPr>
            <a:endParaRPr lang="de-DE" dirty="0">
              <a:solidFill>
                <a:srgbClr val="343434"/>
              </a:solidFill>
            </a:endParaRPr>
          </a:p>
        </p:txBody>
      </p:sp>
      <p:sp>
        <p:nvSpPr>
          <p:cNvPr id="3" name="Textfeld 2"/>
          <p:cNvSpPr txBox="1"/>
          <p:nvPr/>
        </p:nvSpPr>
        <p:spPr>
          <a:xfrm>
            <a:off x="6095998" y="2449583"/>
            <a:ext cx="3927895" cy="30285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1">
              <a:lnSpc>
                <a:spcPct val="120000"/>
              </a:lnSpc>
              <a:spcBef>
                <a:spcPct val="0"/>
              </a:spcBef>
            </a:pPr>
            <a:r>
              <a:rPr lang="de-DE" altLang="de-DE" sz="1600" dirty="0" err="1"/>
              <a:t>pronunciation</a:t>
            </a:r>
            <a:endParaRPr lang="de-DE" altLang="de-DE" sz="1600" dirty="0"/>
          </a:p>
          <a:p>
            <a:pPr lvl="1">
              <a:lnSpc>
                <a:spcPct val="120000"/>
              </a:lnSpc>
              <a:spcBef>
                <a:spcPct val="0"/>
              </a:spcBef>
            </a:pPr>
            <a:r>
              <a:rPr lang="de-DE" altLang="de-DE" sz="1600" dirty="0" err="1"/>
              <a:t>be</a:t>
            </a:r>
            <a:r>
              <a:rPr lang="de-DE" altLang="de-DE" sz="1600" dirty="0"/>
              <a:t> </a:t>
            </a:r>
            <a:r>
              <a:rPr lang="de-DE" altLang="de-DE" sz="1600" dirty="0" err="1"/>
              <a:t>able</a:t>
            </a:r>
            <a:r>
              <a:rPr lang="de-DE" altLang="de-DE" sz="1600" dirty="0"/>
              <a:t> </a:t>
            </a:r>
            <a:r>
              <a:rPr lang="de-DE" altLang="de-DE" sz="1600" dirty="0" err="1"/>
              <a:t>to</a:t>
            </a:r>
            <a:r>
              <a:rPr lang="de-DE" altLang="de-DE" sz="1600" dirty="0"/>
              <a:t> </a:t>
            </a:r>
            <a:r>
              <a:rPr lang="de-DE" altLang="de-DE" sz="1600" dirty="0" err="1"/>
              <a:t>say</a:t>
            </a:r>
            <a:r>
              <a:rPr lang="de-DE" altLang="de-DE" sz="1600" dirty="0"/>
              <a:t> </a:t>
            </a:r>
            <a:r>
              <a:rPr lang="de-DE" altLang="de-DE" sz="1600" dirty="0" err="1"/>
              <a:t>it</a:t>
            </a:r>
            <a:r>
              <a:rPr lang="de-DE" altLang="de-DE" sz="1600" dirty="0"/>
              <a:t> in simple </a:t>
            </a:r>
            <a:r>
              <a:rPr lang="de-DE" altLang="de-DE" sz="1600" dirty="0" err="1" smtClean="0"/>
              <a:t>words</a:t>
            </a:r>
            <a:endParaRPr lang="de-DE" altLang="de-DE" sz="1600" dirty="0" smtClean="0"/>
          </a:p>
          <a:p>
            <a:pPr lvl="1">
              <a:lnSpc>
                <a:spcPct val="120000"/>
              </a:lnSpc>
              <a:spcBef>
                <a:spcPct val="0"/>
              </a:spcBef>
            </a:pPr>
            <a:r>
              <a:rPr lang="de-DE" altLang="de-DE" sz="1600" dirty="0"/>
              <a:t>easy </a:t>
            </a:r>
            <a:r>
              <a:rPr lang="de-DE" altLang="de-DE" sz="1600" dirty="0" err="1"/>
              <a:t>to</a:t>
            </a:r>
            <a:r>
              <a:rPr lang="de-DE" altLang="de-DE" sz="1600" dirty="0"/>
              <a:t> follow</a:t>
            </a:r>
          </a:p>
          <a:p>
            <a:pPr lvl="1">
              <a:lnSpc>
                <a:spcPct val="120000"/>
              </a:lnSpc>
              <a:spcBef>
                <a:spcPct val="0"/>
              </a:spcBef>
            </a:pPr>
            <a:r>
              <a:rPr lang="de-DE" altLang="de-DE" sz="1600" dirty="0" err="1"/>
              <a:t>no</a:t>
            </a:r>
            <a:r>
              <a:rPr lang="de-DE" altLang="de-DE" sz="1600" dirty="0"/>
              <a:t> funny </a:t>
            </a:r>
            <a:r>
              <a:rPr lang="de-DE" altLang="de-DE" sz="1600" dirty="0" err="1"/>
              <a:t>gestures</a:t>
            </a:r>
            <a:endParaRPr lang="de-DE" altLang="de-DE" sz="1600" dirty="0"/>
          </a:p>
          <a:p>
            <a:pPr lvl="1">
              <a:lnSpc>
                <a:spcPct val="120000"/>
              </a:lnSpc>
              <a:spcBef>
                <a:spcPct val="0"/>
              </a:spcBef>
            </a:pPr>
            <a:r>
              <a:rPr lang="de-DE" altLang="de-DE" sz="1600" dirty="0" err="1"/>
              <a:t>use</a:t>
            </a:r>
            <a:r>
              <a:rPr lang="de-DE" altLang="de-DE" sz="1600" dirty="0"/>
              <a:t> </a:t>
            </a:r>
            <a:r>
              <a:rPr lang="de-DE" altLang="de-DE" sz="1600" dirty="0" err="1"/>
              <a:t>of</a:t>
            </a:r>
            <a:r>
              <a:rPr lang="de-DE" altLang="de-DE" sz="1600" dirty="0"/>
              <a:t> </a:t>
            </a:r>
            <a:r>
              <a:rPr lang="de-DE" altLang="de-DE" sz="1600" dirty="0" err="1"/>
              <a:t>pauses</a:t>
            </a:r>
            <a:endParaRPr lang="de-DE" altLang="de-DE" sz="1600" dirty="0"/>
          </a:p>
          <a:p>
            <a:pPr lvl="1">
              <a:lnSpc>
                <a:spcPct val="120000"/>
              </a:lnSpc>
              <a:spcBef>
                <a:spcPct val="0"/>
              </a:spcBef>
            </a:pPr>
            <a:r>
              <a:rPr lang="de-DE" altLang="de-DE" sz="1600" dirty="0"/>
              <a:t>…</a:t>
            </a:r>
          </a:p>
          <a:p>
            <a:pPr lvl="1">
              <a:lnSpc>
                <a:spcPct val="120000"/>
              </a:lnSpc>
              <a:spcBef>
                <a:spcPct val="0"/>
              </a:spcBef>
            </a:pPr>
            <a:r>
              <a:rPr lang="de-DE" altLang="de-DE" sz="1600" dirty="0"/>
              <a:t>…</a:t>
            </a:r>
          </a:p>
          <a:p>
            <a:pPr lvl="1">
              <a:lnSpc>
                <a:spcPct val="120000"/>
              </a:lnSpc>
              <a:spcBef>
                <a:spcPct val="0"/>
              </a:spcBef>
            </a:pPr>
            <a:endParaRPr lang="de-DE" altLang="de-DE" sz="1600" dirty="0" smtClean="0"/>
          </a:p>
          <a:p>
            <a:pPr lvl="1">
              <a:lnSpc>
                <a:spcPct val="120000"/>
              </a:lnSpc>
              <a:spcBef>
                <a:spcPct val="0"/>
              </a:spcBef>
            </a:pPr>
            <a:endParaRPr lang="de-DE" altLang="de-DE" sz="1600" dirty="0"/>
          </a:p>
          <a:p>
            <a:endParaRPr lang="de-DE" dirty="0"/>
          </a:p>
        </p:txBody>
      </p:sp>
      <p:pic>
        <p:nvPicPr>
          <p:cNvPr id="12" name="Audio 11">
            <a:hlinkClick r:id="" action="ppaction://media"/>
          </p:cNvPr>
          <p:cNvPicPr>
            <a:picLocks noChangeAspect="1"/>
          </p:cNvPicPr>
          <p:nvPr>
            <a:audi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5"/>
          <a:stretch>
            <a:fillRect/>
          </a:stretch>
        </p:blipFill>
        <p:spPr>
          <a:xfrm>
            <a:off x="11488738" y="6154738"/>
            <a:ext cx="487362" cy="4873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70629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12506"/>
    </mc:Choice>
    <mc:Fallback xmlns="">
      <p:transition spd="slow" advTm="12506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1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 isNarration="1">
              <p:cMediaNode vol="80000" showWhenStopped="0">
                <p:cTn id="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12"/>
                </p:tgtEl>
              </p:cMediaNode>
            </p:audio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 8">
            <a:extLst>
              <a:ext uri="{FF2B5EF4-FFF2-40B4-BE49-F238E27FC236}">
                <a16:creationId xmlns:a16="http://schemas.microsoft.com/office/drawing/2014/main" xmlns="" id="{48D8A2D3-B443-4986-B1ED-38333861808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e-DE" dirty="0" smtClean="0">
                <a:solidFill>
                  <a:srgbClr val="343434"/>
                </a:solidFill>
              </a:rPr>
              <a:t>English </a:t>
            </a:r>
            <a:r>
              <a:rPr lang="de-DE" dirty="0" smtClean="0">
                <a:solidFill>
                  <a:srgbClr val="343434"/>
                </a:solidFill>
              </a:rPr>
              <a:t>III</a:t>
            </a:r>
            <a:endParaRPr lang="de-DE" dirty="0">
              <a:solidFill>
                <a:srgbClr val="343434"/>
              </a:solidFill>
            </a:endParaRPr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xmlns="" id="{18B4579A-4238-40E2-906C-8E6A9538D842}"/>
              </a:ext>
            </a:extLst>
          </p:cNvPr>
          <p:cNvSpPr txBox="1">
            <a:spLocks/>
          </p:cNvSpPr>
          <p:nvPr/>
        </p:nvSpPr>
        <p:spPr>
          <a:xfrm>
            <a:off x="852784" y="1889341"/>
            <a:ext cx="4883782" cy="330864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IN" sz="2000" b="1" kern="1200" baseline="0" dirty="0">
                <a:solidFill>
                  <a:srgbClr val="002B6A"/>
                </a:solidFill>
                <a:latin typeface="Roboto Cn" pitchFamily="2" charset="0"/>
                <a:ea typeface="Roboto Cn" pitchFamily="2" charset="0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rgbClr val="FFFFFF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+mn-cs"/>
              </a:defRPr>
            </a:lvl2pPr>
            <a:lvl3pPr marL="914400" marR="0" indent="0" algn="ctr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kern="1200">
                <a:solidFill>
                  <a:srgbClr val="FFFFFF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rgbClr val="FFFFFF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rgbClr val="FFFFFF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1800" dirty="0" smtClean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What makes a good presentation?</a:t>
            </a:r>
            <a:endParaRPr lang="en-US" sz="1800" dirty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11" name="Textplatzhalter 5">
            <a:extLst>
              <a:ext uri="{FF2B5EF4-FFF2-40B4-BE49-F238E27FC236}">
                <a16:creationId xmlns:a16="http://schemas.microsoft.com/office/drawing/2014/main" xmlns="" id="{07259BD0-8F46-453D-852A-6EDA7FC8F2F5}"/>
              </a:ext>
            </a:extLst>
          </p:cNvPr>
          <p:cNvSpPr txBox="1">
            <a:spLocks/>
          </p:cNvSpPr>
          <p:nvPr/>
        </p:nvSpPr>
        <p:spPr>
          <a:xfrm>
            <a:off x="821018" y="2130725"/>
            <a:ext cx="4639504" cy="3830128"/>
          </a:xfrm>
          <a:prstGeom prst="rect">
            <a:avLst/>
          </a:prstGeom>
        </p:spPr>
        <p:txBody>
          <a:bodyPr/>
          <a:lstStyle>
            <a:lvl1pPr marL="285750" indent="-285750" algn="ctr" defTabSz="914400" rtl="0" eaLnBrk="1" latinLnBrk="0" hangingPunct="1">
              <a:lnSpc>
                <a:spcPts val="2400"/>
              </a:lnSpc>
              <a:spcBef>
                <a:spcPts val="1000"/>
              </a:spcBef>
              <a:buSzPct val="65000"/>
              <a:buFontTx/>
              <a:buBlip>
                <a:blip r:embed="rId4"/>
              </a:buBlip>
              <a:tabLst>
                <a:tab pos="1704975" algn="l"/>
              </a:tabLst>
              <a:defRPr lang="de-DE" sz="1600" kern="1200" dirty="0" err="1" smtClean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lang="de-DE" sz="1600" kern="1200" dirty="0" smtClean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+mn-cs"/>
              </a:defRPr>
            </a:lvl2pPr>
            <a:lvl3pPr marL="914400" marR="0" indent="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de-DE" sz="1600" kern="1200" dirty="0" smtClean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lang="de-DE" sz="1600" kern="1200" dirty="0" smtClean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lang="de-DE" sz="1600" kern="12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ts val="1800"/>
              </a:lnSpc>
              <a:buFontTx/>
              <a:buChar char="-"/>
            </a:pPr>
            <a:endParaRPr lang="de-DE" dirty="0">
              <a:solidFill>
                <a:schemeClr val="bg1">
                  <a:lumMod val="50000"/>
                </a:schemeClr>
              </a:solidFill>
            </a:endParaRPr>
          </a:p>
          <a:p>
            <a:pPr lvl="1">
              <a:lnSpc>
                <a:spcPct val="120000"/>
              </a:lnSpc>
              <a:spcBef>
                <a:spcPct val="0"/>
              </a:spcBef>
            </a:pPr>
            <a:r>
              <a:rPr lang="de-DE" altLang="de-DE" sz="1800" dirty="0" err="1"/>
              <a:t>clear</a:t>
            </a:r>
            <a:r>
              <a:rPr lang="de-DE" altLang="de-DE" sz="1800" dirty="0"/>
              <a:t> </a:t>
            </a:r>
            <a:r>
              <a:rPr lang="de-DE" altLang="de-DE" sz="1800" dirty="0" err="1"/>
              <a:t>structure</a:t>
            </a:r>
            <a:endParaRPr lang="de-DE" altLang="de-DE" sz="1800" dirty="0"/>
          </a:p>
          <a:p>
            <a:pPr lvl="1">
              <a:lnSpc>
                <a:spcPct val="120000"/>
              </a:lnSpc>
              <a:spcBef>
                <a:spcPct val="0"/>
              </a:spcBef>
            </a:pPr>
            <a:r>
              <a:rPr lang="de-DE" altLang="de-DE" sz="1800" dirty="0" err="1"/>
              <a:t>speak</a:t>
            </a:r>
            <a:r>
              <a:rPr lang="de-DE" altLang="de-DE" sz="1800" dirty="0"/>
              <a:t> </a:t>
            </a:r>
            <a:r>
              <a:rPr lang="de-DE" altLang="de-DE" sz="1800" dirty="0" err="1"/>
              <a:t>fluently</a:t>
            </a:r>
            <a:endParaRPr lang="de-DE" altLang="de-DE" sz="1800" dirty="0"/>
          </a:p>
          <a:p>
            <a:pPr lvl="1">
              <a:lnSpc>
                <a:spcPct val="120000"/>
              </a:lnSpc>
              <a:spcBef>
                <a:spcPct val="0"/>
              </a:spcBef>
            </a:pPr>
            <a:r>
              <a:rPr lang="de-DE" altLang="de-DE" sz="1800" dirty="0" err="1"/>
              <a:t>speak</a:t>
            </a:r>
            <a:r>
              <a:rPr lang="de-DE" altLang="de-DE" sz="1800" dirty="0"/>
              <a:t> </a:t>
            </a:r>
            <a:r>
              <a:rPr lang="de-DE" altLang="de-DE" sz="1800" dirty="0" err="1"/>
              <a:t>clearly</a:t>
            </a:r>
            <a:endParaRPr lang="de-DE" altLang="de-DE" sz="1800" dirty="0"/>
          </a:p>
          <a:p>
            <a:pPr lvl="1">
              <a:lnSpc>
                <a:spcPct val="120000"/>
              </a:lnSpc>
              <a:spcBef>
                <a:spcPct val="0"/>
              </a:spcBef>
            </a:pPr>
            <a:r>
              <a:rPr lang="de-DE" altLang="de-DE" sz="1800" dirty="0" err="1"/>
              <a:t>good</a:t>
            </a:r>
            <a:r>
              <a:rPr lang="de-DE" altLang="de-DE" sz="1800" dirty="0"/>
              <a:t> </a:t>
            </a:r>
            <a:r>
              <a:rPr lang="de-DE" altLang="de-DE" sz="1800" dirty="0" err="1"/>
              <a:t>body</a:t>
            </a:r>
            <a:r>
              <a:rPr lang="de-DE" altLang="de-DE" sz="1800" dirty="0"/>
              <a:t> </a:t>
            </a:r>
            <a:r>
              <a:rPr lang="de-DE" altLang="de-DE" sz="1800" dirty="0" err="1"/>
              <a:t>language</a:t>
            </a:r>
            <a:endParaRPr lang="de-DE" altLang="de-DE" sz="1800" dirty="0"/>
          </a:p>
          <a:p>
            <a:pPr lvl="1">
              <a:lnSpc>
                <a:spcPct val="120000"/>
              </a:lnSpc>
              <a:spcBef>
                <a:spcPct val="0"/>
              </a:spcBef>
            </a:pPr>
            <a:r>
              <a:rPr lang="de-DE" altLang="de-DE" sz="1800" dirty="0" err="1"/>
              <a:t>keep</a:t>
            </a:r>
            <a:r>
              <a:rPr lang="de-DE" altLang="de-DE" sz="1800" dirty="0"/>
              <a:t> </a:t>
            </a:r>
            <a:r>
              <a:rPr lang="de-DE" altLang="de-DE" sz="1800" dirty="0" err="1"/>
              <a:t>eye</a:t>
            </a:r>
            <a:r>
              <a:rPr lang="de-DE" altLang="de-DE" sz="1800" dirty="0"/>
              <a:t> </a:t>
            </a:r>
            <a:r>
              <a:rPr lang="de-DE" altLang="de-DE" sz="1800" dirty="0" err="1"/>
              <a:t>contact</a:t>
            </a:r>
            <a:endParaRPr lang="de-DE" altLang="de-DE" sz="1800" dirty="0"/>
          </a:p>
          <a:p>
            <a:pPr lvl="1">
              <a:lnSpc>
                <a:spcPct val="120000"/>
              </a:lnSpc>
              <a:spcBef>
                <a:spcPct val="0"/>
              </a:spcBef>
            </a:pPr>
            <a:r>
              <a:rPr lang="de-DE" altLang="de-DE" sz="1800" dirty="0" err="1">
                <a:solidFill>
                  <a:schemeClr val="bg1"/>
                </a:solidFill>
              </a:rPr>
              <a:t>audience</a:t>
            </a:r>
            <a:r>
              <a:rPr lang="de-DE" altLang="de-DE" sz="1800" dirty="0">
                <a:solidFill>
                  <a:schemeClr val="bg1"/>
                </a:solidFill>
              </a:rPr>
              <a:t> </a:t>
            </a:r>
            <a:r>
              <a:rPr lang="de-DE" altLang="de-DE" sz="1800" dirty="0" err="1">
                <a:solidFill>
                  <a:schemeClr val="bg1"/>
                </a:solidFill>
              </a:rPr>
              <a:t>involvement</a:t>
            </a:r>
            <a:endParaRPr lang="de-DE" altLang="de-DE" sz="1800" dirty="0">
              <a:solidFill>
                <a:schemeClr val="bg1"/>
              </a:solidFill>
            </a:endParaRPr>
          </a:p>
          <a:p>
            <a:pPr lvl="1">
              <a:lnSpc>
                <a:spcPct val="120000"/>
              </a:lnSpc>
              <a:spcBef>
                <a:spcPct val="0"/>
              </a:spcBef>
            </a:pPr>
            <a:r>
              <a:rPr lang="de-DE" altLang="de-DE" sz="1800" dirty="0" err="1"/>
              <a:t>good</a:t>
            </a:r>
            <a:r>
              <a:rPr lang="de-DE" altLang="de-DE" sz="1800" dirty="0"/>
              <a:t> </a:t>
            </a:r>
            <a:r>
              <a:rPr lang="de-DE" altLang="de-DE" sz="1800" dirty="0" err="1"/>
              <a:t>visuals</a:t>
            </a:r>
            <a:endParaRPr lang="de-DE" altLang="de-DE" sz="1800" dirty="0"/>
          </a:p>
          <a:p>
            <a:pPr lvl="1">
              <a:lnSpc>
                <a:spcPct val="120000"/>
              </a:lnSpc>
              <a:spcBef>
                <a:spcPct val="0"/>
              </a:spcBef>
            </a:pPr>
            <a:r>
              <a:rPr lang="de-DE" altLang="de-DE" sz="1800" dirty="0" err="1" smtClean="0"/>
              <a:t>good</a:t>
            </a:r>
            <a:r>
              <a:rPr lang="de-DE" altLang="de-DE" sz="1800" dirty="0" smtClean="0"/>
              <a:t> </a:t>
            </a:r>
            <a:r>
              <a:rPr lang="de-DE" altLang="de-DE" sz="1800" dirty="0" err="1" smtClean="0"/>
              <a:t>preparation</a:t>
            </a:r>
            <a:endParaRPr lang="de-DE" altLang="de-DE" sz="1800" dirty="0" smtClean="0"/>
          </a:p>
          <a:p>
            <a:pPr lvl="1">
              <a:lnSpc>
                <a:spcPct val="120000"/>
              </a:lnSpc>
              <a:spcBef>
                <a:spcPct val="0"/>
              </a:spcBef>
            </a:pPr>
            <a:r>
              <a:rPr lang="de-DE" altLang="de-DE" sz="1800" dirty="0" err="1" smtClean="0"/>
              <a:t>make</a:t>
            </a:r>
            <a:r>
              <a:rPr lang="de-DE" altLang="de-DE" sz="1800" dirty="0" smtClean="0"/>
              <a:t> </a:t>
            </a:r>
            <a:r>
              <a:rPr lang="de-DE" altLang="de-DE" sz="1800" dirty="0" err="1"/>
              <a:t>it</a:t>
            </a:r>
            <a:r>
              <a:rPr lang="de-DE" altLang="de-DE" sz="1800" dirty="0"/>
              <a:t> </a:t>
            </a:r>
            <a:r>
              <a:rPr lang="de-DE" altLang="de-DE" sz="1800" dirty="0" err="1"/>
              <a:t>interesting</a:t>
            </a:r>
            <a:r>
              <a:rPr lang="de-DE" altLang="de-DE" sz="1800" dirty="0"/>
              <a:t> </a:t>
            </a:r>
            <a:r>
              <a:rPr lang="de-DE" altLang="de-DE" sz="1800" dirty="0" err="1"/>
              <a:t>and</a:t>
            </a:r>
            <a:r>
              <a:rPr lang="de-DE" altLang="de-DE" sz="1800" dirty="0"/>
              <a:t> relevant</a:t>
            </a:r>
          </a:p>
          <a:p>
            <a:pPr lvl="1">
              <a:lnSpc>
                <a:spcPct val="120000"/>
              </a:lnSpc>
              <a:spcBef>
                <a:spcPct val="0"/>
              </a:spcBef>
            </a:pPr>
            <a:r>
              <a:rPr lang="de-DE" altLang="de-DE" sz="1800" dirty="0" err="1"/>
              <a:t>intonation</a:t>
            </a:r>
            <a:endParaRPr lang="de-DE" altLang="de-DE" sz="1800" dirty="0"/>
          </a:p>
          <a:p>
            <a:pPr algn="l">
              <a:lnSpc>
                <a:spcPts val="1800"/>
              </a:lnSpc>
              <a:buFontTx/>
              <a:buChar char="-"/>
            </a:pPr>
            <a:endParaRPr lang="de-DE" dirty="0">
              <a:solidFill>
                <a:schemeClr val="bg1">
                  <a:lumMod val="50000"/>
                </a:schemeClr>
              </a:solidFill>
            </a:endParaRPr>
          </a:p>
          <a:p>
            <a:pPr algn="l">
              <a:lnSpc>
                <a:spcPts val="1800"/>
              </a:lnSpc>
              <a:buFontTx/>
              <a:buChar char="-"/>
            </a:pPr>
            <a:endParaRPr lang="de-DE" dirty="0" smtClean="0">
              <a:solidFill>
                <a:schemeClr val="bg1">
                  <a:lumMod val="50000"/>
                </a:schemeClr>
              </a:solidFill>
            </a:endParaRPr>
          </a:p>
          <a:p>
            <a:pPr algn="l">
              <a:lnSpc>
                <a:spcPts val="1800"/>
              </a:lnSpc>
              <a:buFontTx/>
              <a:buChar char="-"/>
            </a:pPr>
            <a:endParaRPr lang="de-DE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14" name="Textplatzhalter 5">
            <a:extLst>
              <a:ext uri="{FF2B5EF4-FFF2-40B4-BE49-F238E27FC236}">
                <a16:creationId xmlns:a16="http://schemas.microsoft.com/office/drawing/2014/main" xmlns="" id="{E483239E-B7FF-4473-BEC7-2F375E16713D}"/>
              </a:ext>
            </a:extLst>
          </p:cNvPr>
          <p:cNvSpPr txBox="1">
            <a:spLocks/>
          </p:cNvSpPr>
          <p:nvPr/>
        </p:nvSpPr>
        <p:spPr>
          <a:xfrm>
            <a:off x="6096000" y="2501342"/>
            <a:ext cx="4830846" cy="2662842"/>
          </a:xfrm>
          <a:prstGeom prst="rect">
            <a:avLst/>
          </a:prstGeom>
        </p:spPr>
        <p:txBody>
          <a:bodyPr/>
          <a:lstStyle>
            <a:lvl1pPr marL="285750" indent="-285750" algn="ctr" defTabSz="914400" rtl="0" eaLnBrk="1" latinLnBrk="0" hangingPunct="1">
              <a:lnSpc>
                <a:spcPts val="2400"/>
              </a:lnSpc>
              <a:spcBef>
                <a:spcPts val="1000"/>
              </a:spcBef>
              <a:buSzPct val="65000"/>
              <a:buFontTx/>
              <a:buBlip>
                <a:blip r:embed="rId4"/>
              </a:buBlip>
              <a:tabLst>
                <a:tab pos="1704975" algn="l"/>
              </a:tabLst>
              <a:defRPr lang="de-DE" sz="1600" kern="1200" dirty="0" err="1" smtClean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lang="de-DE" sz="1600" kern="1200" dirty="0" smtClean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+mn-cs"/>
              </a:defRPr>
            </a:lvl2pPr>
            <a:lvl3pPr marL="914400" marR="0" indent="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de-DE" sz="1600" kern="1200" dirty="0" smtClean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lang="de-DE" sz="1600" kern="1200" dirty="0" smtClean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lang="de-DE" sz="1600" kern="12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ts val="1800"/>
              </a:lnSpc>
            </a:pPr>
            <a:endParaRPr lang="de-DE" dirty="0">
              <a:solidFill>
                <a:srgbClr val="343434"/>
              </a:solidFill>
            </a:endParaRPr>
          </a:p>
        </p:txBody>
      </p:sp>
      <p:sp>
        <p:nvSpPr>
          <p:cNvPr id="3" name="Textfeld 2"/>
          <p:cNvSpPr txBox="1"/>
          <p:nvPr/>
        </p:nvSpPr>
        <p:spPr>
          <a:xfrm>
            <a:off x="6095998" y="2449583"/>
            <a:ext cx="3927895" cy="30285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1">
              <a:lnSpc>
                <a:spcPct val="120000"/>
              </a:lnSpc>
              <a:spcBef>
                <a:spcPct val="0"/>
              </a:spcBef>
            </a:pPr>
            <a:r>
              <a:rPr lang="de-DE" altLang="de-DE" sz="1600" dirty="0" err="1"/>
              <a:t>pronunciation</a:t>
            </a:r>
            <a:endParaRPr lang="de-DE" altLang="de-DE" sz="1600" dirty="0"/>
          </a:p>
          <a:p>
            <a:pPr lvl="1">
              <a:lnSpc>
                <a:spcPct val="120000"/>
              </a:lnSpc>
              <a:spcBef>
                <a:spcPct val="0"/>
              </a:spcBef>
            </a:pPr>
            <a:r>
              <a:rPr lang="de-DE" altLang="de-DE" sz="1600" dirty="0" err="1"/>
              <a:t>be</a:t>
            </a:r>
            <a:r>
              <a:rPr lang="de-DE" altLang="de-DE" sz="1600" dirty="0"/>
              <a:t> </a:t>
            </a:r>
            <a:r>
              <a:rPr lang="de-DE" altLang="de-DE" sz="1600" dirty="0" err="1"/>
              <a:t>able</a:t>
            </a:r>
            <a:r>
              <a:rPr lang="de-DE" altLang="de-DE" sz="1600" dirty="0"/>
              <a:t> </a:t>
            </a:r>
            <a:r>
              <a:rPr lang="de-DE" altLang="de-DE" sz="1600" dirty="0" err="1"/>
              <a:t>to</a:t>
            </a:r>
            <a:r>
              <a:rPr lang="de-DE" altLang="de-DE" sz="1600" dirty="0"/>
              <a:t> </a:t>
            </a:r>
            <a:r>
              <a:rPr lang="de-DE" altLang="de-DE" sz="1600" dirty="0" err="1"/>
              <a:t>say</a:t>
            </a:r>
            <a:r>
              <a:rPr lang="de-DE" altLang="de-DE" sz="1600" dirty="0"/>
              <a:t> </a:t>
            </a:r>
            <a:r>
              <a:rPr lang="de-DE" altLang="de-DE" sz="1600" dirty="0" err="1"/>
              <a:t>it</a:t>
            </a:r>
            <a:r>
              <a:rPr lang="de-DE" altLang="de-DE" sz="1600" dirty="0"/>
              <a:t> in simple </a:t>
            </a:r>
            <a:r>
              <a:rPr lang="de-DE" altLang="de-DE" sz="1600" dirty="0" err="1" smtClean="0"/>
              <a:t>words</a:t>
            </a:r>
            <a:endParaRPr lang="de-DE" altLang="de-DE" sz="1600" dirty="0" smtClean="0"/>
          </a:p>
          <a:p>
            <a:pPr lvl="1">
              <a:lnSpc>
                <a:spcPct val="120000"/>
              </a:lnSpc>
              <a:spcBef>
                <a:spcPct val="0"/>
              </a:spcBef>
            </a:pPr>
            <a:r>
              <a:rPr lang="de-DE" altLang="de-DE" sz="1600" dirty="0"/>
              <a:t>easy </a:t>
            </a:r>
            <a:r>
              <a:rPr lang="de-DE" altLang="de-DE" sz="1600" dirty="0" err="1"/>
              <a:t>to</a:t>
            </a:r>
            <a:r>
              <a:rPr lang="de-DE" altLang="de-DE" sz="1600" dirty="0"/>
              <a:t> follow</a:t>
            </a:r>
          </a:p>
          <a:p>
            <a:pPr lvl="1">
              <a:lnSpc>
                <a:spcPct val="120000"/>
              </a:lnSpc>
              <a:spcBef>
                <a:spcPct val="0"/>
              </a:spcBef>
            </a:pPr>
            <a:r>
              <a:rPr lang="de-DE" altLang="de-DE" sz="1600" dirty="0" err="1"/>
              <a:t>no</a:t>
            </a:r>
            <a:r>
              <a:rPr lang="de-DE" altLang="de-DE" sz="1600" dirty="0"/>
              <a:t> funny </a:t>
            </a:r>
            <a:r>
              <a:rPr lang="de-DE" altLang="de-DE" sz="1600" dirty="0" err="1"/>
              <a:t>gestures</a:t>
            </a:r>
            <a:endParaRPr lang="de-DE" altLang="de-DE" sz="1600" dirty="0"/>
          </a:p>
          <a:p>
            <a:pPr lvl="1">
              <a:lnSpc>
                <a:spcPct val="120000"/>
              </a:lnSpc>
              <a:spcBef>
                <a:spcPct val="0"/>
              </a:spcBef>
            </a:pPr>
            <a:r>
              <a:rPr lang="de-DE" altLang="de-DE" sz="1600" dirty="0" err="1"/>
              <a:t>use</a:t>
            </a:r>
            <a:r>
              <a:rPr lang="de-DE" altLang="de-DE" sz="1600" dirty="0"/>
              <a:t> </a:t>
            </a:r>
            <a:r>
              <a:rPr lang="de-DE" altLang="de-DE" sz="1600" dirty="0" err="1"/>
              <a:t>of</a:t>
            </a:r>
            <a:r>
              <a:rPr lang="de-DE" altLang="de-DE" sz="1600" dirty="0"/>
              <a:t> </a:t>
            </a:r>
            <a:r>
              <a:rPr lang="de-DE" altLang="de-DE" sz="1600" dirty="0" err="1"/>
              <a:t>pauses</a:t>
            </a:r>
            <a:endParaRPr lang="de-DE" altLang="de-DE" sz="1600" dirty="0"/>
          </a:p>
          <a:p>
            <a:pPr lvl="1">
              <a:lnSpc>
                <a:spcPct val="120000"/>
              </a:lnSpc>
              <a:spcBef>
                <a:spcPct val="0"/>
              </a:spcBef>
            </a:pPr>
            <a:r>
              <a:rPr lang="de-DE" altLang="de-DE" sz="1600" dirty="0"/>
              <a:t>…</a:t>
            </a:r>
          </a:p>
          <a:p>
            <a:pPr lvl="1">
              <a:lnSpc>
                <a:spcPct val="120000"/>
              </a:lnSpc>
              <a:spcBef>
                <a:spcPct val="0"/>
              </a:spcBef>
            </a:pPr>
            <a:r>
              <a:rPr lang="de-DE" altLang="de-DE" sz="1600" dirty="0"/>
              <a:t>…</a:t>
            </a:r>
          </a:p>
          <a:p>
            <a:pPr lvl="1">
              <a:lnSpc>
                <a:spcPct val="120000"/>
              </a:lnSpc>
              <a:spcBef>
                <a:spcPct val="0"/>
              </a:spcBef>
            </a:pPr>
            <a:endParaRPr lang="de-DE" altLang="de-DE" sz="1600" dirty="0" smtClean="0"/>
          </a:p>
          <a:p>
            <a:pPr lvl="1">
              <a:lnSpc>
                <a:spcPct val="120000"/>
              </a:lnSpc>
              <a:spcBef>
                <a:spcPct val="0"/>
              </a:spcBef>
            </a:pPr>
            <a:endParaRPr lang="de-DE" altLang="de-DE" sz="1600" dirty="0"/>
          </a:p>
          <a:p>
            <a:endParaRPr lang="de-DE" dirty="0"/>
          </a:p>
        </p:txBody>
      </p:sp>
      <p:pic>
        <p:nvPicPr>
          <p:cNvPr id="7" name="Audio 6">
            <a:hlinkClick r:id="" action="ppaction://media"/>
          </p:cNvPr>
          <p:cNvPicPr>
            <a:picLocks noChangeAspect="1"/>
          </p:cNvPicPr>
          <p:nvPr>
            <a:audi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5"/>
          <a:stretch>
            <a:fillRect/>
          </a:stretch>
        </p:blipFill>
        <p:spPr>
          <a:xfrm>
            <a:off x="11488738" y="6154738"/>
            <a:ext cx="487362" cy="4873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721034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14480"/>
    </mc:Choice>
    <mc:Fallback xmlns="">
      <p:transition spd="slow" advTm="14480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7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 isNarration="1">
              <p:cMediaNode vol="80000" showWhenStopped="0">
                <p:cTn id="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7"/>
                </p:tgtEl>
              </p:cMediaNode>
            </p:audio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 8">
            <a:extLst>
              <a:ext uri="{FF2B5EF4-FFF2-40B4-BE49-F238E27FC236}">
                <a16:creationId xmlns:a16="http://schemas.microsoft.com/office/drawing/2014/main" xmlns="" id="{48D8A2D3-B443-4986-B1ED-38333861808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e-DE" dirty="0" smtClean="0">
                <a:solidFill>
                  <a:srgbClr val="343434"/>
                </a:solidFill>
              </a:rPr>
              <a:t>English </a:t>
            </a:r>
            <a:r>
              <a:rPr lang="de-DE" dirty="0" smtClean="0">
                <a:solidFill>
                  <a:srgbClr val="343434"/>
                </a:solidFill>
              </a:rPr>
              <a:t>III</a:t>
            </a:r>
            <a:endParaRPr lang="de-DE" dirty="0">
              <a:solidFill>
                <a:srgbClr val="343434"/>
              </a:solidFill>
            </a:endParaRPr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xmlns="" id="{18B4579A-4238-40E2-906C-8E6A9538D842}"/>
              </a:ext>
            </a:extLst>
          </p:cNvPr>
          <p:cNvSpPr txBox="1">
            <a:spLocks/>
          </p:cNvSpPr>
          <p:nvPr/>
        </p:nvSpPr>
        <p:spPr>
          <a:xfrm>
            <a:off x="852784" y="1889341"/>
            <a:ext cx="4883782" cy="330864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IN" sz="2000" b="1" kern="1200" baseline="0" dirty="0">
                <a:solidFill>
                  <a:srgbClr val="002B6A"/>
                </a:solidFill>
                <a:latin typeface="Roboto Cn" pitchFamily="2" charset="0"/>
                <a:ea typeface="Roboto Cn" pitchFamily="2" charset="0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rgbClr val="FFFFFF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+mn-cs"/>
              </a:defRPr>
            </a:lvl2pPr>
            <a:lvl3pPr marL="914400" marR="0" indent="0" algn="ctr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kern="1200">
                <a:solidFill>
                  <a:srgbClr val="FFFFFF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rgbClr val="FFFFFF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rgbClr val="FFFFFF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1800" dirty="0" smtClean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What makes a good presentation?</a:t>
            </a:r>
            <a:endParaRPr lang="en-US" sz="1800" dirty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11" name="Textplatzhalter 5">
            <a:extLst>
              <a:ext uri="{FF2B5EF4-FFF2-40B4-BE49-F238E27FC236}">
                <a16:creationId xmlns:a16="http://schemas.microsoft.com/office/drawing/2014/main" xmlns="" id="{07259BD0-8F46-453D-852A-6EDA7FC8F2F5}"/>
              </a:ext>
            </a:extLst>
          </p:cNvPr>
          <p:cNvSpPr txBox="1">
            <a:spLocks/>
          </p:cNvSpPr>
          <p:nvPr/>
        </p:nvSpPr>
        <p:spPr>
          <a:xfrm>
            <a:off x="821018" y="2130725"/>
            <a:ext cx="4639504" cy="3830128"/>
          </a:xfrm>
          <a:prstGeom prst="rect">
            <a:avLst/>
          </a:prstGeom>
        </p:spPr>
        <p:txBody>
          <a:bodyPr/>
          <a:lstStyle>
            <a:lvl1pPr marL="285750" indent="-285750" algn="ctr" defTabSz="914400" rtl="0" eaLnBrk="1" latinLnBrk="0" hangingPunct="1">
              <a:lnSpc>
                <a:spcPts val="2400"/>
              </a:lnSpc>
              <a:spcBef>
                <a:spcPts val="1000"/>
              </a:spcBef>
              <a:buSzPct val="65000"/>
              <a:buFontTx/>
              <a:buBlip>
                <a:blip r:embed="rId4"/>
              </a:buBlip>
              <a:tabLst>
                <a:tab pos="1704975" algn="l"/>
              </a:tabLst>
              <a:defRPr lang="de-DE" sz="1600" kern="1200" dirty="0" err="1" smtClean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lang="de-DE" sz="1600" kern="1200" dirty="0" smtClean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+mn-cs"/>
              </a:defRPr>
            </a:lvl2pPr>
            <a:lvl3pPr marL="914400" marR="0" indent="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de-DE" sz="1600" kern="1200" dirty="0" smtClean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lang="de-DE" sz="1600" kern="1200" dirty="0" smtClean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lang="de-DE" sz="1600" kern="12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ts val="1800"/>
              </a:lnSpc>
              <a:buFontTx/>
              <a:buChar char="-"/>
            </a:pPr>
            <a:endParaRPr lang="de-DE" dirty="0">
              <a:solidFill>
                <a:schemeClr val="bg1">
                  <a:lumMod val="50000"/>
                </a:schemeClr>
              </a:solidFill>
            </a:endParaRPr>
          </a:p>
          <a:p>
            <a:pPr lvl="1">
              <a:lnSpc>
                <a:spcPct val="120000"/>
              </a:lnSpc>
              <a:spcBef>
                <a:spcPct val="0"/>
              </a:spcBef>
            </a:pPr>
            <a:r>
              <a:rPr lang="de-DE" altLang="de-DE" sz="1800" dirty="0" err="1"/>
              <a:t>clear</a:t>
            </a:r>
            <a:r>
              <a:rPr lang="de-DE" altLang="de-DE" sz="1800" dirty="0"/>
              <a:t> </a:t>
            </a:r>
            <a:r>
              <a:rPr lang="de-DE" altLang="de-DE" sz="1800" dirty="0" err="1"/>
              <a:t>structure</a:t>
            </a:r>
            <a:endParaRPr lang="de-DE" altLang="de-DE" sz="1800" dirty="0"/>
          </a:p>
          <a:p>
            <a:pPr lvl="1">
              <a:lnSpc>
                <a:spcPct val="120000"/>
              </a:lnSpc>
              <a:spcBef>
                <a:spcPct val="0"/>
              </a:spcBef>
            </a:pPr>
            <a:r>
              <a:rPr lang="de-DE" altLang="de-DE" sz="1800" dirty="0" err="1"/>
              <a:t>speak</a:t>
            </a:r>
            <a:r>
              <a:rPr lang="de-DE" altLang="de-DE" sz="1800" dirty="0"/>
              <a:t> </a:t>
            </a:r>
            <a:r>
              <a:rPr lang="de-DE" altLang="de-DE" sz="1800" dirty="0" err="1"/>
              <a:t>fluently</a:t>
            </a:r>
            <a:endParaRPr lang="de-DE" altLang="de-DE" sz="1800" dirty="0"/>
          </a:p>
          <a:p>
            <a:pPr lvl="1">
              <a:lnSpc>
                <a:spcPct val="120000"/>
              </a:lnSpc>
              <a:spcBef>
                <a:spcPct val="0"/>
              </a:spcBef>
            </a:pPr>
            <a:r>
              <a:rPr lang="de-DE" altLang="de-DE" sz="1800" dirty="0" err="1"/>
              <a:t>speak</a:t>
            </a:r>
            <a:r>
              <a:rPr lang="de-DE" altLang="de-DE" sz="1800" dirty="0"/>
              <a:t> </a:t>
            </a:r>
            <a:r>
              <a:rPr lang="de-DE" altLang="de-DE" sz="1800" dirty="0" err="1"/>
              <a:t>clearly</a:t>
            </a:r>
            <a:endParaRPr lang="de-DE" altLang="de-DE" sz="1800" dirty="0"/>
          </a:p>
          <a:p>
            <a:pPr lvl="1">
              <a:lnSpc>
                <a:spcPct val="120000"/>
              </a:lnSpc>
              <a:spcBef>
                <a:spcPct val="0"/>
              </a:spcBef>
            </a:pPr>
            <a:r>
              <a:rPr lang="de-DE" altLang="de-DE" sz="1800" dirty="0" err="1"/>
              <a:t>good</a:t>
            </a:r>
            <a:r>
              <a:rPr lang="de-DE" altLang="de-DE" sz="1800" dirty="0"/>
              <a:t> </a:t>
            </a:r>
            <a:r>
              <a:rPr lang="de-DE" altLang="de-DE" sz="1800" dirty="0" err="1"/>
              <a:t>body</a:t>
            </a:r>
            <a:r>
              <a:rPr lang="de-DE" altLang="de-DE" sz="1800" dirty="0"/>
              <a:t> </a:t>
            </a:r>
            <a:r>
              <a:rPr lang="de-DE" altLang="de-DE" sz="1800" dirty="0" err="1"/>
              <a:t>language</a:t>
            </a:r>
            <a:endParaRPr lang="de-DE" altLang="de-DE" sz="1800" dirty="0"/>
          </a:p>
          <a:p>
            <a:pPr lvl="1">
              <a:lnSpc>
                <a:spcPct val="120000"/>
              </a:lnSpc>
              <a:spcBef>
                <a:spcPct val="0"/>
              </a:spcBef>
            </a:pPr>
            <a:r>
              <a:rPr lang="de-DE" altLang="de-DE" sz="1800" dirty="0" err="1"/>
              <a:t>keep</a:t>
            </a:r>
            <a:r>
              <a:rPr lang="de-DE" altLang="de-DE" sz="1800" dirty="0"/>
              <a:t> </a:t>
            </a:r>
            <a:r>
              <a:rPr lang="de-DE" altLang="de-DE" sz="1800" dirty="0" err="1"/>
              <a:t>eye</a:t>
            </a:r>
            <a:r>
              <a:rPr lang="de-DE" altLang="de-DE" sz="1800" dirty="0"/>
              <a:t> </a:t>
            </a:r>
            <a:r>
              <a:rPr lang="de-DE" altLang="de-DE" sz="1800" dirty="0" err="1"/>
              <a:t>contact</a:t>
            </a:r>
            <a:endParaRPr lang="de-DE" altLang="de-DE" sz="1800" dirty="0"/>
          </a:p>
          <a:p>
            <a:pPr lvl="1">
              <a:lnSpc>
                <a:spcPct val="120000"/>
              </a:lnSpc>
              <a:spcBef>
                <a:spcPct val="0"/>
              </a:spcBef>
            </a:pPr>
            <a:r>
              <a:rPr lang="de-DE" altLang="de-DE" sz="1800" dirty="0" err="1"/>
              <a:t>audience</a:t>
            </a:r>
            <a:r>
              <a:rPr lang="de-DE" altLang="de-DE" sz="1800" dirty="0"/>
              <a:t> </a:t>
            </a:r>
            <a:r>
              <a:rPr lang="de-DE" altLang="de-DE" sz="1800" dirty="0" err="1"/>
              <a:t>involvement</a:t>
            </a:r>
            <a:endParaRPr lang="de-DE" altLang="de-DE" sz="1800" dirty="0"/>
          </a:p>
          <a:p>
            <a:pPr lvl="1">
              <a:lnSpc>
                <a:spcPct val="120000"/>
              </a:lnSpc>
              <a:spcBef>
                <a:spcPct val="0"/>
              </a:spcBef>
            </a:pPr>
            <a:r>
              <a:rPr lang="de-DE" altLang="de-DE" sz="1800" dirty="0" err="1">
                <a:solidFill>
                  <a:schemeClr val="bg1"/>
                </a:solidFill>
              </a:rPr>
              <a:t>good</a:t>
            </a:r>
            <a:r>
              <a:rPr lang="de-DE" altLang="de-DE" sz="1800" dirty="0">
                <a:solidFill>
                  <a:schemeClr val="bg1"/>
                </a:solidFill>
              </a:rPr>
              <a:t> </a:t>
            </a:r>
            <a:r>
              <a:rPr lang="de-DE" altLang="de-DE" sz="1800" dirty="0" err="1">
                <a:solidFill>
                  <a:schemeClr val="bg1"/>
                </a:solidFill>
              </a:rPr>
              <a:t>visuals</a:t>
            </a:r>
            <a:endParaRPr lang="de-DE" altLang="de-DE" sz="1800" dirty="0">
              <a:solidFill>
                <a:schemeClr val="bg1"/>
              </a:solidFill>
            </a:endParaRPr>
          </a:p>
          <a:p>
            <a:pPr lvl="1">
              <a:lnSpc>
                <a:spcPct val="120000"/>
              </a:lnSpc>
              <a:spcBef>
                <a:spcPct val="0"/>
              </a:spcBef>
            </a:pPr>
            <a:r>
              <a:rPr lang="de-DE" altLang="de-DE" sz="1800" dirty="0" err="1" smtClean="0"/>
              <a:t>good</a:t>
            </a:r>
            <a:r>
              <a:rPr lang="de-DE" altLang="de-DE" sz="1800" dirty="0" smtClean="0"/>
              <a:t> </a:t>
            </a:r>
            <a:r>
              <a:rPr lang="de-DE" altLang="de-DE" sz="1800" dirty="0" err="1" smtClean="0"/>
              <a:t>preparation</a:t>
            </a:r>
            <a:endParaRPr lang="de-DE" altLang="de-DE" sz="1800" dirty="0" smtClean="0"/>
          </a:p>
          <a:p>
            <a:pPr lvl="1">
              <a:lnSpc>
                <a:spcPct val="120000"/>
              </a:lnSpc>
              <a:spcBef>
                <a:spcPct val="0"/>
              </a:spcBef>
            </a:pPr>
            <a:r>
              <a:rPr lang="de-DE" altLang="de-DE" sz="1800" dirty="0" err="1" smtClean="0"/>
              <a:t>make</a:t>
            </a:r>
            <a:r>
              <a:rPr lang="de-DE" altLang="de-DE" sz="1800" dirty="0" smtClean="0"/>
              <a:t> </a:t>
            </a:r>
            <a:r>
              <a:rPr lang="de-DE" altLang="de-DE" sz="1800" dirty="0" err="1"/>
              <a:t>it</a:t>
            </a:r>
            <a:r>
              <a:rPr lang="de-DE" altLang="de-DE" sz="1800" dirty="0"/>
              <a:t> </a:t>
            </a:r>
            <a:r>
              <a:rPr lang="de-DE" altLang="de-DE" sz="1800" dirty="0" err="1"/>
              <a:t>interesting</a:t>
            </a:r>
            <a:r>
              <a:rPr lang="de-DE" altLang="de-DE" sz="1800" dirty="0"/>
              <a:t> </a:t>
            </a:r>
            <a:r>
              <a:rPr lang="de-DE" altLang="de-DE" sz="1800" dirty="0" err="1"/>
              <a:t>and</a:t>
            </a:r>
            <a:r>
              <a:rPr lang="de-DE" altLang="de-DE" sz="1800" dirty="0"/>
              <a:t> relevant</a:t>
            </a:r>
          </a:p>
          <a:p>
            <a:pPr lvl="1">
              <a:lnSpc>
                <a:spcPct val="120000"/>
              </a:lnSpc>
              <a:spcBef>
                <a:spcPct val="0"/>
              </a:spcBef>
            </a:pPr>
            <a:r>
              <a:rPr lang="de-DE" altLang="de-DE" sz="1800" dirty="0" err="1"/>
              <a:t>intonation</a:t>
            </a:r>
            <a:endParaRPr lang="de-DE" altLang="de-DE" sz="1800" dirty="0"/>
          </a:p>
          <a:p>
            <a:pPr algn="l">
              <a:lnSpc>
                <a:spcPts val="1800"/>
              </a:lnSpc>
              <a:buFontTx/>
              <a:buChar char="-"/>
            </a:pPr>
            <a:endParaRPr lang="de-DE" dirty="0">
              <a:solidFill>
                <a:schemeClr val="bg1">
                  <a:lumMod val="50000"/>
                </a:schemeClr>
              </a:solidFill>
            </a:endParaRPr>
          </a:p>
          <a:p>
            <a:pPr algn="l">
              <a:lnSpc>
                <a:spcPts val="1800"/>
              </a:lnSpc>
              <a:buFontTx/>
              <a:buChar char="-"/>
            </a:pPr>
            <a:endParaRPr lang="de-DE" dirty="0" smtClean="0">
              <a:solidFill>
                <a:schemeClr val="bg1">
                  <a:lumMod val="50000"/>
                </a:schemeClr>
              </a:solidFill>
            </a:endParaRPr>
          </a:p>
          <a:p>
            <a:pPr algn="l">
              <a:lnSpc>
                <a:spcPts val="1800"/>
              </a:lnSpc>
              <a:buFontTx/>
              <a:buChar char="-"/>
            </a:pPr>
            <a:endParaRPr lang="de-DE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14" name="Textplatzhalter 5">
            <a:extLst>
              <a:ext uri="{FF2B5EF4-FFF2-40B4-BE49-F238E27FC236}">
                <a16:creationId xmlns:a16="http://schemas.microsoft.com/office/drawing/2014/main" xmlns="" id="{E483239E-B7FF-4473-BEC7-2F375E16713D}"/>
              </a:ext>
            </a:extLst>
          </p:cNvPr>
          <p:cNvSpPr txBox="1">
            <a:spLocks/>
          </p:cNvSpPr>
          <p:nvPr/>
        </p:nvSpPr>
        <p:spPr>
          <a:xfrm>
            <a:off x="6096000" y="2501342"/>
            <a:ext cx="4830846" cy="2662842"/>
          </a:xfrm>
          <a:prstGeom prst="rect">
            <a:avLst/>
          </a:prstGeom>
        </p:spPr>
        <p:txBody>
          <a:bodyPr/>
          <a:lstStyle>
            <a:lvl1pPr marL="285750" indent="-285750" algn="ctr" defTabSz="914400" rtl="0" eaLnBrk="1" latinLnBrk="0" hangingPunct="1">
              <a:lnSpc>
                <a:spcPts val="2400"/>
              </a:lnSpc>
              <a:spcBef>
                <a:spcPts val="1000"/>
              </a:spcBef>
              <a:buSzPct val="65000"/>
              <a:buFontTx/>
              <a:buBlip>
                <a:blip r:embed="rId4"/>
              </a:buBlip>
              <a:tabLst>
                <a:tab pos="1704975" algn="l"/>
              </a:tabLst>
              <a:defRPr lang="de-DE" sz="1600" kern="1200" dirty="0" err="1" smtClean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lang="de-DE" sz="1600" kern="1200" dirty="0" smtClean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+mn-cs"/>
              </a:defRPr>
            </a:lvl2pPr>
            <a:lvl3pPr marL="914400" marR="0" indent="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de-DE" sz="1600" kern="1200" dirty="0" smtClean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lang="de-DE" sz="1600" kern="1200" dirty="0" smtClean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lang="de-DE" sz="1600" kern="12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ts val="1800"/>
              </a:lnSpc>
            </a:pPr>
            <a:endParaRPr lang="de-DE" dirty="0">
              <a:solidFill>
                <a:srgbClr val="343434"/>
              </a:solidFill>
            </a:endParaRPr>
          </a:p>
        </p:txBody>
      </p:sp>
      <p:sp>
        <p:nvSpPr>
          <p:cNvPr id="3" name="Textfeld 2"/>
          <p:cNvSpPr txBox="1"/>
          <p:nvPr/>
        </p:nvSpPr>
        <p:spPr>
          <a:xfrm>
            <a:off x="6095998" y="2449583"/>
            <a:ext cx="3927895" cy="30285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1">
              <a:lnSpc>
                <a:spcPct val="120000"/>
              </a:lnSpc>
              <a:spcBef>
                <a:spcPct val="0"/>
              </a:spcBef>
            </a:pPr>
            <a:r>
              <a:rPr lang="de-DE" altLang="de-DE" sz="1600" dirty="0" err="1"/>
              <a:t>pronunciation</a:t>
            </a:r>
            <a:endParaRPr lang="de-DE" altLang="de-DE" sz="1600" dirty="0"/>
          </a:p>
          <a:p>
            <a:pPr lvl="1">
              <a:lnSpc>
                <a:spcPct val="120000"/>
              </a:lnSpc>
              <a:spcBef>
                <a:spcPct val="0"/>
              </a:spcBef>
            </a:pPr>
            <a:r>
              <a:rPr lang="de-DE" altLang="de-DE" sz="1600" dirty="0" err="1"/>
              <a:t>be</a:t>
            </a:r>
            <a:r>
              <a:rPr lang="de-DE" altLang="de-DE" sz="1600" dirty="0"/>
              <a:t> </a:t>
            </a:r>
            <a:r>
              <a:rPr lang="de-DE" altLang="de-DE" sz="1600" dirty="0" err="1"/>
              <a:t>able</a:t>
            </a:r>
            <a:r>
              <a:rPr lang="de-DE" altLang="de-DE" sz="1600" dirty="0"/>
              <a:t> </a:t>
            </a:r>
            <a:r>
              <a:rPr lang="de-DE" altLang="de-DE" sz="1600" dirty="0" err="1"/>
              <a:t>to</a:t>
            </a:r>
            <a:r>
              <a:rPr lang="de-DE" altLang="de-DE" sz="1600" dirty="0"/>
              <a:t> </a:t>
            </a:r>
            <a:r>
              <a:rPr lang="de-DE" altLang="de-DE" sz="1600" dirty="0" err="1"/>
              <a:t>say</a:t>
            </a:r>
            <a:r>
              <a:rPr lang="de-DE" altLang="de-DE" sz="1600" dirty="0"/>
              <a:t> </a:t>
            </a:r>
            <a:r>
              <a:rPr lang="de-DE" altLang="de-DE" sz="1600" dirty="0" err="1"/>
              <a:t>it</a:t>
            </a:r>
            <a:r>
              <a:rPr lang="de-DE" altLang="de-DE" sz="1600" dirty="0"/>
              <a:t> in simple </a:t>
            </a:r>
            <a:r>
              <a:rPr lang="de-DE" altLang="de-DE" sz="1600" dirty="0" err="1" smtClean="0"/>
              <a:t>words</a:t>
            </a:r>
            <a:endParaRPr lang="de-DE" altLang="de-DE" sz="1600" dirty="0" smtClean="0"/>
          </a:p>
          <a:p>
            <a:pPr lvl="1">
              <a:lnSpc>
                <a:spcPct val="120000"/>
              </a:lnSpc>
              <a:spcBef>
                <a:spcPct val="0"/>
              </a:spcBef>
            </a:pPr>
            <a:r>
              <a:rPr lang="de-DE" altLang="de-DE" sz="1600" dirty="0"/>
              <a:t>easy </a:t>
            </a:r>
            <a:r>
              <a:rPr lang="de-DE" altLang="de-DE" sz="1600" dirty="0" err="1"/>
              <a:t>to</a:t>
            </a:r>
            <a:r>
              <a:rPr lang="de-DE" altLang="de-DE" sz="1600" dirty="0"/>
              <a:t> follow</a:t>
            </a:r>
          </a:p>
          <a:p>
            <a:pPr lvl="1">
              <a:lnSpc>
                <a:spcPct val="120000"/>
              </a:lnSpc>
              <a:spcBef>
                <a:spcPct val="0"/>
              </a:spcBef>
            </a:pPr>
            <a:r>
              <a:rPr lang="de-DE" altLang="de-DE" sz="1600" dirty="0" err="1"/>
              <a:t>no</a:t>
            </a:r>
            <a:r>
              <a:rPr lang="de-DE" altLang="de-DE" sz="1600" dirty="0"/>
              <a:t> funny </a:t>
            </a:r>
            <a:r>
              <a:rPr lang="de-DE" altLang="de-DE" sz="1600" dirty="0" err="1"/>
              <a:t>gestures</a:t>
            </a:r>
            <a:endParaRPr lang="de-DE" altLang="de-DE" sz="1600" dirty="0"/>
          </a:p>
          <a:p>
            <a:pPr lvl="1">
              <a:lnSpc>
                <a:spcPct val="120000"/>
              </a:lnSpc>
              <a:spcBef>
                <a:spcPct val="0"/>
              </a:spcBef>
            </a:pPr>
            <a:r>
              <a:rPr lang="de-DE" altLang="de-DE" sz="1600" dirty="0" err="1"/>
              <a:t>use</a:t>
            </a:r>
            <a:r>
              <a:rPr lang="de-DE" altLang="de-DE" sz="1600" dirty="0"/>
              <a:t> </a:t>
            </a:r>
            <a:r>
              <a:rPr lang="de-DE" altLang="de-DE" sz="1600" dirty="0" err="1"/>
              <a:t>of</a:t>
            </a:r>
            <a:r>
              <a:rPr lang="de-DE" altLang="de-DE" sz="1600" dirty="0"/>
              <a:t> </a:t>
            </a:r>
            <a:r>
              <a:rPr lang="de-DE" altLang="de-DE" sz="1600" dirty="0" err="1"/>
              <a:t>pauses</a:t>
            </a:r>
            <a:endParaRPr lang="de-DE" altLang="de-DE" sz="1600" dirty="0"/>
          </a:p>
          <a:p>
            <a:pPr lvl="1">
              <a:lnSpc>
                <a:spcPct val="120000"/>
              </a:lnSpc>
              <a:spcBef>
                <a:spcPct val="0"/>
              </a:spcBef>
            </a:pPr>
            <a:r>
              <a:rPr lang="de-DE" altLang="de-DE" sz="1600" dirty="0"/>
              <a:t>…</a:t>
            </a:r>
          </a:p>
          <a:p>
            <a:pPr lvl="1">
              <a:lnSpc>
                <a:spcPct val="120000"/>
              </a:lnSpc>
              <a:spcBef>
                <a:spcPct val="0"/>
              </a:spcBef>
            </a:pPr>
            <a:r>
              <a:rPr lang="de-DE" altLang="de-DE" sz="1600" dirty="0"/>
              <a:t>…</a:t>
            </a:r>
          </a:p>
          <a:p>
            <a:pPr lvl="1">
              <a:lnSpc>
                <a:spcPct val="120000"/>
              </a:lnSpc>
              <a:spcBef>
                <a:spcPct val="0"/>
              </a:spcBef>
            </a:pPr>
            <a:endParaRPr lang="de-DE" altLang="de-DE" sz="1600" dirty="0" smtClean="0"/>
          </a:p>
          <a:p>
            <a:pPr lvl="1">
              <a:lnSpc>
                <a:spcPct val="120000"/>
              </a:lnSpc>
              <a:spcBef>
                <a:spcPct val="0"/>
              </a:spcBef>
            </a:pPr>
            <a:endParaRPr lang="de-DE" altLang="de-DE" sz="1600" dirty="0"/>
          </a:p>
          <a:p>
            <a:endParaRPr lang="de-DE" dirty="0"/>
          </a:p>
        </p:txBody>
      </p:sp>
      <p:pic>
        <p:nvPicPr>
          <p:cNvPr id="4" name="Audio 3">
            <a:hlinkClick r:id="" action="ppaction://media"/>
          </p:cNvPr>
          <p:cNvPicPr>
            <a:picLocks noChangeAspect="1"/>
          </p:cNvPicPr>
          <p:nvPr>
            <a:audi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5"/>
          <a:stretch>
            <a:fillRect/>
          </a:stretch>
        </p:blipFill>
        <p:spPr>
          <a:xfrm>
            <a:off x="11488738" y="6154738"/>
            <a:ext cx="487362" cy="4873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520566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9946"/>
    </mc:Choice>
    <mc:Fallback xmlns="">
      <p:transition spd="slow" advTm="9946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 isNarration="1">
              <p:cMediaNode vol="80000" showWhenStopped="0">
                <p:cTn id="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4"/>
                </p:tgtEl>
              </p:cMediaNode>
            </p:audio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 8">
            <a:extLst>
              <a:ext uri="{FF2B5EF4-FFF2-40B4-BE49-F238E27FC236}">
                <a16:creationId xmlns:a16="http://schemas.microsoft.com/office/drawing/2014/main" xmlns="" id="{48D8A2D3-B443-4986-B1ED-38333861808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e-DE" dirty="0" smtClean="0">
                <a:solidFill>
                  <a:srgbClr val="343434"/>
                </a:solidFill>
              </a:rPr>
              <a:t>English </a:t>
            </a:r>
            <a:r>
              <a:rPr lang="de-DE" dirty="0" smtClean="0">
                <a:solidFill>
                  <a:srgbClr val="343434"/>
                </a:solidFill>
              </a:rPr>
              <a:t>III</a:t>
            </a:r>
            <a:endParaRPr lang="de-DE" dirty="0">
              <a:solidFill>
                <a:srgbClr val="343434"/>
              </a:solidFill>
            </a:endParaRPr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xmlns="" id="{18B4579A-4238-40E2-906C-8E6A9538D842}"/>
              </a:ext>
            </a:extLst>
          </p:cNvPr>
          <p:cNvSpPr txBox="1">
            <a:spLocks/>
          </p:cNvSpPr>
          <p:nvPr/>
        </p:nvSpPr>
        <p:spPr>
          <a:xfrm>
            <a:off x="852784" y="1889341"/>
            <a:ext cx="4883782" cy="330864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IN" sz="2000" b="1" kern="1200" baseline="0" dirty="0">
                <a:solidFill>
                  <a:srgbClr val="002B6A"/>
                </a:solidFill>
                <a:latin typeface="Roboto Cn" pitchFamily="2" charset="0"/>
                <a:ea typeface="Roboto Cn" pitchFamily="2" charset="0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rgbClr val="FFFFFF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+mn-cs"/>
              </a:defRPr>
            </a:lvl2pPr>
            <a:lvl3pPr marL="914400" marR="0" indent="0" algn="ctr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kern="1200">
                <a:solidFill>
                  <a:srgbClr val="FFFFFF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rgbClr val="FFFFFF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rgbClr val="FFFFFF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1800" dirty="0" smtClean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What makes a good presentation?</a:t>
            </a:r>
            <a:endParaRPr lang="en-US" sz="1800" dirty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11" name="Textplatzhalter 5">
            <a:extLst>
              <a:ext uri="{FF2B5EF4-FFF2-40B4-BE49-F238E27FC236}">
                <a16:creationId xmlns:a16="http://schemas.microsoft.com/office/drawing/2014/main" xmlns="" id="{07259BD0-8F46-453D-852A-6EDA7FC8F2F5}"/>
              </a:ext>
            </a:extLst>
          </p:cNvPr>
          <p:cNvSpPr txBox="1">
            <a:spLocks/>
          </p:cNvSpPr>
          <p:nvPr/>
        </p:nvSpPr>
        <p:spPr>
          <a:xfrm>
            <a:off x="821018" y="2130725"/>
            <a:ext cx="4639504" cy="3830128"/>
          </a:xfrm>
          <a:prstGeom prst="rect">
            <a:avLst/>
          </a:prstGeom>
        </p:spPr>
        <p:txBody>
          <a:bodyPr/>
          <a:lstStyle>
            <a:lvl1pPr marL="285750" indent="-285750" algn="ctr" defTabSz="914400" rtl="0" eaLnBrk="1" latinLnBrk="0" hangingPunct="1">
              <a:lnSpc>
                <a:spcPts val="2400"/>
              </a:lnSpc>
              <a:spcBef>
                <a:spcPts val="1000"/>
              </a:spcBef>
              <a:buSzPct val="65000"/>
              <a:buFontTx/>
              <a:buBlip>
                <a:blip r:embed="rId4"/>
              </a:buBlip>
              <a:tabLst>
                <a:tab pos="1704975" algn="l"/>
              </a:tabLst>
              <a:defRPr lang="de-DE" sz="1600" kern="1200" dirty="0" err="1" smtClean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lang="de-DE" sz="1600" kern="1200" dirty="0" smtClean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+mn-cs"/>
              </a:defRPr>
            </a:lvl2pPr>
            <a:lvl3pPr marL="914400" marR="0" indent="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de-DE" sz="1600" kern="1200" dirty="0" smtClean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lang="de-DE" sz="1600" kern="1200" dirty="0" smtClean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lang="de-DE" sz="1600" kern="12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ts val="1800"/>
              </a:lnSpc>
              <a:buFontTx/>
              <a:buChar char="-"/>
            </a:pPr>
            <a:endParaRPr lang="de-DE" dirty="0">
              <a:solidFill>
                <a:schemeClr val="bg1">
                  <a:lumMod val="50000"/>
                </a:schemeClr>
              </a:solidFill>
            </a:endParaRPr>
          </a:p>
          <a:p>
            <a:pPr lvl="1">
              <a:lnSpc>
                <a:spcPct val="120000"/>
              </a:lnSpc>
              <a:spcBef>
                <a:spcPct val="0"/>
              </a:spcBef>
            </a:pPr>
            <a:r>
              <a:rPr lang="de-DE" altLang="de-DE" sz="1800" dirty="0" err="1"/>
              <a:t>clear</a:t>
            </a:r>
            <a:r>
              <a:rPr lang="de-DE" altLang="de-DE" sz="1800" dirty="0"/>
              <a:t> </a:t>
            </a:r>
            <a:r>
              <a:rPr lang="de-DE" altLang="de-DE" sz="1800" dirty="0" err="1"/>
              <a:t>structure</a:t>
            </a:r>
            <a:endParaRPr lang="de-DE" altLang="de-DE" sz="1800" dirty="0"/>
          </a:p>
          <a:p>
            <a:pPr lvl="1">
              <a:lnSpc>
                <a:spcPct val="120000"/>
              </a:lnSpc>
              <a:spcBef>
                <a:spcPct val="0"/>
              </a:spcBef>
            </a:pPr>
            <a:r>
              <a:rPr lang="de-DE" altLang="de-DE" sz="1800" dirty="0" err="1"/>
              <a:t>speak</a:t>
            </a:r>
            <a:r>
              <a:rPr lang="de-DE" altLang="de-DE" sz="1800" dirty="0"/>
              <a:t> </a:t>
            </a:r>
            <a:r>
              <a:rPr lang="de-DE" altLang="de-DE" sz="1800" dirty="0" err="1"/>
              <a:t>fluently</a:t>
            </a:r>
            <a:endParaRPr lang="de-DE" altLang="de-DE" sz="1800" dirty="0"/>
          </a:p>
          <a:p>
            <a:pPr lvl="1">
              <a:lnSpc>
                <a:spcPct val="120000"/>
              </a:lnSpc>
              <a:spcBef>
                <a:spcPct val="0"/>
              </a:spcBef>
            </a:pPr>
            <a:r>
              <a:rPr lang="de-DE" altLang="de-DE" sz="1800" dirty="0" err="1"/>
              <a:t>speak</a:t>
            </a:r>
            <a:r>
              <a:rPr lang="de-DE" altLang="de-DE" sz="1800" dirty="0"/>
              <a:t> </a:t>
            </a:r>
            <a:r>
              <a:rPr lang="de-DE" altLang="de-DE" sz="1800" dirty="0" err="1"/>
              <a:t>clearly</a:t>
            </a:r>
            <a:endParaRPr lang="de-DE" altLang="de-DE" sz="1800" dirty="0"/>
          </a:p>
          <a:p>
            <a:pPr lvl="1">
              <a:lnSpc>
                <a:spcPct val="120000"/>
              </a:lnSpc>
              <a:spcBef>
                <a:spcPct val="0"/>
              </a:spcBef>
            </a:pPr>
            <a:r>
              <a:rPr lang="de-DE" altLang="de-DE" sz="1800" dirty="0" err="1"/>
              <a:t>good</a:t>
            </a:r>
            <a:r>
              <a:rPr lang="de-DE" altLang="de-DE" sz="1800" dirty="0"/>
              <a:t> </a:t>
            </a:r>
            <a:r>
              <a:rPr lang="de-DE" altLang="de-DE" sz="1800" dirty="0" err="1"/>
              <a:t>body</a:t>
            </a:r>
            <a:r>
              <a:rPr lang="de-DE" altLang="de-DE" sz="1800" dirty="0"/>
              <a:t> </a:t>
            </a:r>
            <a:r>
              <a:rPr lang="de-DE" altLang="de-DE" sz="1800" dirty="0" err="1"/>
              <a:t>language</a:t>
            </a:r>
            <a:endParaRPr lang="de-DE" altLang="de-DE" sz="1800" dirty="0"/>
          </a:p>
          <a:p>
            <a:pPr lvl="1">
              <a:lnSpc>
                <a:spcPct val="120000"/>
              </a:lnSpc>
              <a:spcBef>
                <a:spcPct val="0"/>
              </a:spcBef>
            </a:pPr>
            <a:r>
              <a:rPr lang="de-DE" altLang="de-DE" sz="1800" dirty="0" err="1"/>
              <a:t>keep</a:t>
            </a:r>
            <a:r>
              <a:rPr lang="de-DE" altLang="de-DE" sz="1800" dirty="0"/>
              <a:t> </a:t>
            </a:r>
            <a:r>
              <a:rPr lang="de-DE" altLang="de-DE" sz="1800" dirty="0" err="1"/>
              <a:t>eye</a:t>
            </a:r>
            <a:r>
              <a:rPr lang="de-DE" altLang="de-DE" sz="1800" dirty="0"/>
              <a:t> </a:t>
            </a:r>
            <a:r>
              <a:rPr lang="de-DE" altLang="de-DE" sz="1800" dirty="0" err="1"/>
              <a:t>contact</a:t>
            </a:r>
            <a:endParaRPr lang="de-DE" altLang="de-DE" sz="1800" dirty="0"/>
          </a:p>
          <a:p>
            <a:pPr lvl="1">
              <a:lnSpc>
                <a:spcPct val="120000"/>
              </a:lnSpc>
              <a:spcBef>
                <a:spcPct val="0"/>
              </a:spcBef>
            </a:pPr>
            <a:r>
              <a:rPr lang="de-DE" altLang="de-DE" sz="1800" dirty="0" err="1"/>
              <a:t>audience</a:t>
            </a:r>
            <a:r>
              <a:rPr lang="de-DE" altLang="de-DE" sz="1800" dirty="0"/>
              <a:t> </a:t>
            </a:r>
            <a:r>
              <a:rPr lang="de-DE" altLang="de-DE" sz="1800" dirty="0" err="1"/>
              <a:t>involvement</a:t>
            </a:r>
            <a:endParaRPr lang="de-DE" altLang="de-DE" sz="1800" dirty="0"/>
          </a:p>
          <a:p>
            <a:pPr lvl="1">
              <a:lnSpc>
                <a:spcPct val="120000"/>
              </a:lnSpc>
              <a:spcBef>
                <a:spcPct val="0"/>
              </a:spcBef>
            </a:pPr>
            <a:r>
              <a:rPr lang="de-DE" altLang="de-DE" sz="1800" dirty="0" err="1"/>
              <a:t>good</a:t>
            </a:r>
            <a:r>
              <a:rPr lang="de-DE" altLang="de-DE" sz="1800" dirty="0"/>
              <a:t> </a:t>
            </a:r>
            <a:r>
              <a:rPr lang="de-DE" altLang="de-DE" sz="1800" dirty="0" err="1"/>
              <a:t>visuals</a:t>
            </a:r>
            <a:endParaRPr lang="de-DE" altLang="de-DE" sz="1800" dirty="0"/>
          </a:p>
          <a:p>
            <a:pPr lvl="1">
              <a:lnSpc>
                <a:spcPct val="120000"/>
              </a:lnSpc>
              <a:spcBef>
                <a:spcPct val="0"/>
              </a:spcBef>
            </a:pPr>
            <a:r>
              <a:rPr lang="de-DE" altLang="de-DE" sz="1800" dirty="0" err="1" smtClean="0">
                <a:solidFill>
                  <a:schemeClr val="bg1"/>
                </a:solidFill>
              </a:rPr>
              <a:t>good</a:t>
            </a:r>
            <a:r>
              <a:rPr lang="de-DE" altLang="de-DE" sz="1800" dirty="0" smtClean="0">
                <a:solidFill>
                  <a:schemeClr val="bg1"/>
                </a:solidFill>
              </a:rPr>
              <a:t> </a:t>
            </a:r>
            <a:r>
              <a:rPr lang="de-DE" altLang="de-DE" sz="1800" dirty="0" err="1" smtClean="0">
                <a:solidFill>
                  <a:schemeClr val="bg1"/>
                </a:solidFill>
              </a:rPr>
              <a:t>preparation</a:t>
            </a:r>
            <a:endParaRPr lang="de-DE" altLang="de-DE" sz="1800" dirty="0" smtClean="0">
              <a:solidFill>
                <a:schemeClr val="bg1"/>
              </a:solidFill>
            </a:endParaRPr>
          </a:p>
          <a:p>
            <a:pPr lvl="1">
              <a:lnSpc>
                <a:spcPct val="120000"/>
              </a:lnSpc>
              <a:spcBef>
                <a:spcPct val="0"/>
              </a:spcBef>
            </a:pPr>
            <a:r>
              <a:rPr lang="de-DE" altLang="de-DE" sz="1800" dirty="0" err="1" smtClean="0"/>
              <a:t>make</a:t>
            </a:r>
            <a:r>
              <a:rPr lang="de-DE" altLang="de-DE" sz="1800" dirty="0" smtClean="0"/>
              <a:t> </a:t>
            </a:r>
            <a:r>
              <a:rPr lang="de-DE" altLang="de-DE" sz="1800" dirty="0" err="1"/>
              <a:t>it</a:t>
            </a:r>
            <a:r>
              <a:rPr lang="de-DE" altLang="de-DE" sz="1800" dirty="0"/>
              <a:t> </a:t>
            </a:r>
            <a:r>
              <a:rPr lang="de-DE" altLang="de-DE" sz="1800" dirty="0" err="1"/>
              <a:t>interesting</a:t>
            </a:r>
            <a:r>
              <a:rPr lang="de-DE" altLang="de-DE" sz="1800" dirty="0"/>
              <a:t> </a:t>
            </a:r>
            <a:r>
              <a:rPr lang="de-DE" altLang="de-DE" sz="1800" dirty="0" err="1"/>
              <a:t>and</a:t>
            </a:r>
            <a:r>
              <a:rPr lang="de-DE" altLang="de-DE" sz="1800" dirty="0"/>
              <a:t> relevant</a:t>
            </a:r>
          </a:p>
          <a:p>
            <a:pPr lvl="1">
              <a:lnSpc>
                <a:spcPct val="120000"/>
              </a:lnSpc>
              <a:spcBef>
                <a:spcPct val="0"/>
              </a:spcBef>
            </a:pPr>
            <a:r>
              <a:rPr lang="de-DE" altLang="de-DE" sz="1800" dirty="0" err="1"/>
              <a:t>intonation</a:t>
            </a:r>
            <a:endParaRPr lang="de-DE" altLang="de-DE" sz="1800" dirty="0"/>
          </a:p>
          <a:p>
            <a:pPr algn="l">
              <a:lnSpc>
                <a:spcPts val="1800"/>
              </a:lnSpc>
              <a:buFontTx/>
              <a:buChar char="-"/>
            </a:pPr>
            <a:endParaRPr lang="de-DE" dirty="0">
              <a:solidFill>
                <a:schemeClr val="bg1">
                  <a:lumMod val="50000"/>
                </a:schemeClr>
              </a:solidFill>
            </a:endParaRPr>
          </a:p>
          <a:p>
            <a:pPr algn="l">
              <a:lnSpc>
                <a:spcPts val="1800"/>
              </a:lnSpc>
              <a:buFontTx/>
              <a:buChar char="-"/>
            </a:pPr>
            <a:endParaRPr lang="de-DE" dirty="0" smtClean="0">
              <a:solidFill>
                <a:schemeClr val="bg1">
                  <a:lumMod val="50000"/>
                </a:schemeClr>
              </a:solidFill>
            </a:endParaRPr>
          </a:p>
          <a:p>
            <a:pPr algn="l">
              <a:lnSpc>
                <a:spcPts val="1800"/>
              </a:lnSpc>
              <a:buFontTx/>
              <a:buChar char="-"/>
            </a:pPr>
            <a:endParaRPr lang="de-DE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14" name="Textplatzhalter 5">
            <a:extLst>
              <a:ext uri="{FF2B5EF4-FFF2-40B4-BE49-F238E27FC236}">
                <a16:creationId xmlns:a16="http://schemas.microsoft.com/office/drawing/2014/main" xmlns="" id="{E483239E-B7FF-4473-BEC7-2F375E16713D}"/>
              </a:ext>
            </a:extLst>
          </p:cNvPr>
          <p:cNvSpPr txBox="1">
            <a:spLocks/>
          </p:cNvSpPr>
          <p:nvPr/>
        </p:nvSpPr>
        <p:spPr>
          <a:xfrm>
            <a:off x="6096000" y="2501342"/>
            <a:ext cx="4830846" cy="2662842"/>
          </a:xfrm>
          <a:prstGeom prst="rect">
            <a:avLst/>
          </a:prstGeom>
        </p:spPr>
        <p:txBody>
          <a:bodyPr/>
          <a:lstStyle>
            <a:lvl1pPr marL="285750" indent="-285750" algn="ctr" defTabSz="914400" rtl="0" eaLnBrk="1" latinLnBrk="0" hangingPunct="1">
              <a:lnSpc>
                <a:spcPts val="2400"/>
              </a:lnSpc>
              <a:spcBef>
                <a:spcPts val="1000"/>
              </a:spcBef>
              <a:buSzPct val="65000"/>
              <a:buFontTx/>
              <a:buBlip>
                <a:blip r:embed="rId4"/>
              </a:buBlip>
              <a:tabLst>
                <a:tab pos="1704975" algn="l"/>
              </a:tabLst>
              <a:defRPr lang="de-DE" sz="1600" kern="1200" dirty="0" err="1" smtClean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lang="de-DE" sz="1600" kern="1200" dirty="0" smtClean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+mn-cs"/>
              </a:defRPr>
            </a:lvl2pPr>
            <a:lvl3pPr marL="914400" marR="0" indent="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de-DE" sz="1600" kern="1200" dirty="0" smtClean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lang="de-DE" sz="1600" kern="1200" dirty="0" smtClean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lang="de-DE" sz="1600" kern="12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ts val="1800"/>
              </a:lnSpc>
            </a:pPr>
            <a:endParaRPr lang="de-DE" dirty="0">
              <a:solidFill>
                <a:srgbClr val="343434"/>
              </a:solidFill>
            </a:endParaRPr>
          </a:p>
        </p:txBody>
      </p:sp>
      <p:sp>
        <p:nvSpPr>
          <p:cNvPr id="3" name="Textfeld 2"/>
          <p:cNvSpPr txBox="1"/>
          <p:nvPr/>
        </p:nvSpPr>
        <p:spPr>
          <a:xfrm>
            <a:off x="6095998" y="2449583"/>
            <a:ext cx="3927895" cy="30285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1">
              <a:lnSpc>
                <a:spcPct val="120000"/>
              </a:lnSpc>
              <a:spcBef>
                <a:spcPct val="0"/>
              </a:spcBef>
            </a:pPr>
            <a:r>
              <a:rPr lang="de-DE" altLang="de-DE" sz="1600" dirty="0" err="1"/>
              <a:t>pronunciation</a:t>
            </a:r>
            <a:endParaRPr lang="de-DE" altLang="de-DE" sz="1600" dirty="0"/>
          </a:p>
          <a:p>
            <a:pPr lvl="1">
              <a:lnSpc>
                <a:spcPct val="120000"/>
              </a:lnSpc>
              <a:spcBef>
                <a:spcPct val="0"/>
              </a:spcBef>
            </a:pPr>
            <a:r>
              <a:rPr lang="de-DE" altLang="de-DE" sz="1600" dirty="0" err="1"/>
              <a:t>be</a:t>
            </a:r>
            <a:r>
              <a:rPr lang="de-DE" altLang="de-DE" sz="1600" dirty="0"/>
              <a:t> </a:t>
            </a:r>
            <a:r>
              <a:rPr lang="de-DE" altLang="de-DE" sz="1600" dirty="0" err="1"/>
              <a:t>able</a:t>
            </a:r>
            <a:r>
              <a:rPr lang="de-DE" altLang="de-DE" sz="1600" dirty="0"/>
              <a:t> </a:t>
            </a:r>
            <a:r>
              <a:rPr lang="de-DE" altLang="de-DE" sz="1600" dirty="0" err="1"/>
              <a:t>to</a:t>
            </a:r>
            <a:r>
              <a:rPr lang="de-DE" altLang="de-DE" sz="1600" dirty="0"/>
              <a:t> </a:t>
            </a:r>
            <a:r>
              <a:rPr lang="de-DE" altLang="de-DE" sz="1600" dirty="0" err="1"/>
              <a:t>say</a:t>
            </a:r>
            <a:r>
              <a:rPr lang="de-DE" altLang="de-DE" sz="1600" dirty="0"/>
              <a:t> </a:t>
            </a:r>
            <a:r>
              <a:rPr lang="de-DE" altLang="de-DE" sz="1600" dirty="0" err="1"/>
              <a:t>it</a:t>
            </a:r>
            <a:r>
              <a:rPr lang="de-DE" altLang="de-DE" sz="1600" dirty="0"/>
              <a:t> in simple </a:t>
            </a:r>
            <a:r>
              <a:rPr lang="de-DE" altLang="de-DE" sz="1600" dirty="0" err="1" smtClean="0"/>
              <a:t>words</a:t>
            </a:r>
            <a:endParaRPr lang="de-DE" altLang="de-DE" sz="1600" dirty="0" smtClean="0"/>
          </a:p>
          <a:p>
            <a:pPr lvl="1">
              <a:lnSpc>
                <a:spcPct val="120000"/>
              </a:lnSpc>
              <a:spcBef>
                <a:spcPct val="0"/>
              </a:spcBef>
            </a:pPr>
            <a:r>
              <a:rPr lang="de-DE" altLang="de-DE" sz="1600" dirty="0"/>
              <a:t>easy </a:t>
            </a:r>
            <a:r>
              <a:rPr lang="de-DE" altLang="de-DE" sz="1600" dirty="0" err="1"/>
              <a:t>to</a:t>
            </a:r>
            <a:r>
              <a:rPr lang="de-DE" altLang="de-DE" sz="1600" dirty="0"/>
              <a:t> follow</a:t>
            </a:r>
          </a:p>
          <a:p>
            <a:pPr lvl="1">
              <a:lnSpc>
                <a:spcPct val="120000"/>
              </a:lnSpc>
              <a:spcBef>
                <a:spcPct val="0"/>
              </a:spcBef>
            </a:pPr>
            <a:r>
              <a:rPr lang="de-DE" altLang="de-DE" sz="1600" dirty="0" err="1"/>
              <a:t>no</a:t>
            </a:r>
            <a:r>
              <a:rPr lang="de-DE" altLang="de-DE" sz="1600" dirty="0"/>
              <a:t> funny </a:t>
            </a:r>
            <a:r>
              <a:rPr lang="de-DE" altLang="de-DE" sz="1600" dirty="0" err="1"/>
              <a:t>gestures</a:t>
            </a:r>
            <a:endParaRPr lang="de-DE" altLang="de-DE" sz="1600" dirty="0"/>
          </a:p>
          <a:p>
            <a:pPr lvl="1">
              <a:lnSpc>
                <a:spcPct val="120000"/>
              </a:lnSpc>
              <a:spcBef>
                <a:spcPct val="0"/>
              </a:spcBef>
            </a:pPr>
            <a:r>
              <a:rPr lang="de-DE" altLang="de-DE" sz="1600" dirty="0" err="1"/>
              <a:t>use</a:t>
            </a:r>
            <a:r>
              <a:rPr lang="de-DE" altLang="de-DE" sz="1600" dirty="0"/>
              <a:t> </a:t>
            </a:r>
            <a:r>
              <a:rPr lang="de-DE" altLang="de-DE" sz="1600" dirty="0" err="1"/>
              <a:t>of</a:t>
            </a:r>
            <a:r>
              <a:rPr lang="de-DE" altLang="de-DE" sz="1600" dirty="0"/>
              <a:t> </a:t>
            </a:r>
            <a:r>
              <a:rPr lang="de-DE" altLang="de-DE" sz="1600" dirty="0" err="1"/>
              <a:t>pauses</a:t>
            </a:r>
            <a:endParaRPr lang="de-DE" altLang="de-DE" sz="1600" dirty="0"/>
          </a:p>
          <a:p>
            <a:pPr lvl="1">
              <a:lnSpc>
                <a:spcPct val="120000"/>
              </a:lnSpc>
              <a:spcBef>
                <a:spcPct val="0"/>
              </a:spcBef>
            </a:pPr>
            <a:r>
              <a:rPr lang="de-DE" altLang="de-DE" sz="1600" dirty="0"/>
              <a:t>…</a:t>
            </a:r>
          </a:p>
          <a:p>
            <a:pPr lvl="1">
              <a:lnSpc>
                <a:spcPct val="120000"/>
              </a:lnSpc>
              <a:spcBef>
                <a:spcPct val="0"/>
              </a:spcBef>
            </a:pPr>
            <a:r>
              <a:rPr lang="de-DE" altLang="de-DE" sz="1600" dirty="0"/>
              <a:t>…</a:t>
            </a:r>
          </a:p>
          <a:p>
            <a:pPr lvl="1">
              <a:lnSpc>
                <a:spcPct val="120000"/>
              </a:lnSpc>
              <a:spcBef>
                <a:spcPct val="0"/>
              </a:spcBef>
            </a:pPr>
            <a:endParaRPr lang="de-DE" altLang="de-DE" sz="1600" dirty="0" smtClean="0"/>
          </a:p>
          <a:p>
            <a:pPr lvl="1">
              <a:lnSpc>
                <a:spcPct val="120000"/>
              </a:lnSpc>
              <a:spcBef>
                <a:spcPct val="0"/>
              </a:spcBef>
            </a:pPr>
            <a:endParaRPr lang="de-DE" altLang="de-DE" sz="1600" dirty="0"/>
          </a:p>
          <a:p>
            <a:endParaRPr lang="de-DE" dirty="0"/>
          </a:p>
        </p:txBody>
      </p:sp>
      <p:pic>
        <p:nvPicPr>
          <p:cNvPr id="8" name="Audio 7">
            <a:hlinkClick r:id="" action="ppaction://media"/>
          </p:cNvPr>
          <p:cNvPicPr>
            <a:picLocks noChangeAspect="1"/>
          </p:cNvPicPr>
          <p:nvPr>
            <a:audi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5"/>
          <a:stretch>
            <a:fillRect/>
          </a:stretch>
        </p:blipFill>
        <p:spPr>
          <a:xfrm>
            <a:off x="11488738" y="6154738"/>
            <a:ext cx="487362" cy="4873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821665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19471"/>
    </mc:Choice>
    <mc:Fallback xmlns="">
      <p:transition spd="slow" advTm="19471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8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 isNarration="1">
              <p:cMediaNode vol="80000" showWhenStopped="0">
                <p:cTn id="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8"/>
                </p:tgtEl>
              </p:cMediaNode>
            </p:audio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 8">
            <a:extLst>
              <a:ext uri="{FF2B5EF4-FFF2-40B4-BE49-F238E27FC236}">
                <a16:creationId xmlns:a16="http://schemas.microsoft.com/office/drawing/2014/main" xmlns="" id="{48D8A2D3-B443-4986-B1ED-38333861808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e-DE" dirty="0" smtClean="0">
                <a:solidFill>
                  <a:srgbClr val="343434"/>
                </a:solidFill>
              </a:rPr>
              <a:t>English </a:t>
            </a:r>
            <a:r>
              <a:rPr lang="de-DE" dirty="0" smtClean="0">
                <a:solidFill>
                  <a:srgbClr val="343434"/>
                </a:solidFill>
              </a:rPr>
              <a:t>III</a:t>
            </a:r>
            <a:endParaRPr lang="de-DE" dirty="0">
              <a:solidFill>
                <a:srgbClr val="343434"/>
              </a:solidFill>
            </a:endParaRPr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xmlns="" id="{18B4579A-4238-40E2-906C-8E6A9538D842}"/>
              </a:ext>
            </a:extLst>
          </p:cNvPr>
          <p:cNvSpPr txBox="1">
            <a:spLocks/>
          </p:cNvSpPr>
          <p:nvPr/>
        </p:nvSpPr>
        <p:spPr>
          <a:xfrm>
            <a:off x="852784" y="1889341"/>
            <a:ext cx="4883782" cy="330864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IN" sz="2000" b="1" kern="1200" baseline="0" dirty="0">
                <a:solidFill>
                  <a:srgbClr val="002B6A"/>
                </a:solidFill>
                <a:latin typeface="Roboto Cn" pitchFamily="2" charset="0"/>
                <a:ea typeface="Roboto Cn" pitchFamily="2" charset="0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rgbClr val="FFFFFF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+mn-cs"/>
              </a:defRPr>
            </a:lvl2pPr>
            <a:lvl3pPr marL="914400" marR="0" indent="0" algn="ctr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kern="1200">
                <a:solidFill>
                  <a:srgbClr val="FFFFFF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rgbClr val="FFFFFF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rgbClr val="FFFFFF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1800" dirty="0" smtClean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What makes a good presentation?</a:t>
            </a:r>
            <a:endParaRPr lang="en-US" sz="1800" dirty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11" name="Textplatzhalter 5">
            <a:extLst>
              <a:ext uri="{FF2B5EF4-FFF2-40B4-BE49-F238E27FC236}">
                <a16:creationId xmlns:a16="http://schemas.microsoft.com/office/drawing/2014/main" xmlns="" id="{07259BD0-8F46-453D-852A-6EDA7FC8F2F5}"/>
              </a:ext>
            </a:extLst>
          </p:cNvPr>
          <p:cNvSpPr txBox="1">
            <a:spLocks/>
          </p:cNvSpPr>
          <p:nvPr/>
        </p:nvSpPr>
        <p:spPr>
          <a:xfrm>
            <a:off x="821018" y="2130725"/>
            <a:ext cx="4639504" cy="3830128"/>
          </a:xfrm>
          <a:prstGeom prst="rect">
            <a:avLst/>
          </a:prstGeom>
        </p:spPr>
        <p:txBody>
          <a:bodyPr/>
          <a:lstStyle>
            <a:lvl1pPr marL="285750" indent="-285750" algn="ctr" defTabSz="914400" rtl="0" eaLnBrk="1" latinLnBrk="0" hangingPunct="1">
              <a:lnSpc>
                <a:spcPts val="2400"/>
              </a:lnSpc>
              <a:spcBef>
                <a:spcPts val="1000"/>
              </a:spcBef>
              <a:buSzPct val="65000"/>
              <a:buFontTx/>
              <a:buBlip>
                <a:blip r:embed="rId4"/>
              </a:buBlip>
              <a:tabLst>
                <a:tab pos="1704975" algn="l"/>
              </a:tabLst>
              <a:defRPr lang="de-DE" sz="1600" kern="1200" dirty="0" err="1" smtClean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lang="de-DE" sz="1600" kern="1200" dirty="0" smtClean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+mn-cs"/>
              </a:defRPr>
            </a:lvl2pPr>
            <a:lvl3pPr marL="914400" marR="0" indent="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de-DE" sz="1600" kern="1200" dirty="0" smtClean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lang="de-DE" sz="1600" kern="1200" dirty="0" smtClean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lang="de-DE" sz="1600" kern="12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ts val="1800"/>
              </a:lnSpc>
              <a:buFontTx/>
              <a:buChar char="-"/>
            </a:pPr>
            <a:endParaRPr lang="de-DE" dirty="0">
              <a:solidFill>
                <a:schemeClr val="bg1">
                  <a:lumMod val="50000"/>
                </a:schemeClr>
              </a:solidFill>
            </a:endParaRPr>
          </a:p>
          <a:p>
            <a:pPr lvl="1">
              <a:lnSpc>
                <a:spcPct val="120000"/>
              </a:lnSpc>
              <a:spcBef>
                <a:spcPct val="0"/>
              </a:spcBef>
            </a:pPr>
            <a:r>
              <a:rPr lang="de-DE" altLang="de-DE" sz="1800" dirty="0" err="1"/>
              <a:t>clear</a:t>
            </a:r>
            <a:r>
              <a:rPr lang="de-DE" altLang="de-DE" sz="1800" dirty="0"/>
              <a:t> </a:t>
            </a:r>
            <a:r>
              <a:rPr lang="de-DE" altLang="de-DE" sz="1800" dirty="0" err="1"/>
              <a:t>structure</a:t>
            </a:r>
            <a:endParaRPr lang="de-DE" altLang="de-DE" sz="1800" dirty="0"/>
          </a:p>
          <a:p>
            <a:pPr lvl="1">
              <a:lnSpc>
                <a:spcPct val="120000"/>
              </a:lnSpc>
              <a:spcBef>
                <a:spcPct val="0"/>
              </a:spcBef>
            </a:pPr>
            <a:r>
              <a:rPr lang="de-DE" altLang="de-DE" sz="1800" dirty="0" err="1"/>
              <a:t>speak</a:t>
            </a:r>
            <a:r>
              <a:rPr lang="de-DE" altLang="de-DE" sz="1800" dirty="0"/>
              <a:t> </a:t>
            </a:r>
            <a:r>
              <a:rPr lang="de-DE" altLang="de-DE" sz="1800" dirty="0" err="1"/>
              <a:t>fluently</a:t>
            </a:r>
            <a:endParaRPr lang="de-DE" altLang="de-DE" sz="1800" dirty="0"/>
          </a:p>
          <a:p>
            <a:pPr lvl="1">
              <a:lnSpc>
                <a:spcPct val="120000"/>
              </a:lnSpc>
              <a:spcBef>
                <a:spcPct val="0"/>
              </a:spcBef>
            </a:pPr>
            <a:r>
              <a:rPr lang="de-DE" altLang="de-DE" sz="1800" dirty="0" err="1"/>
              <a:t>speak</a:t>
            </a:r>
            <a:r>
              <a:rPr lang="de-DE" altLang="de-DE" sz="1800" dirty="0"/>
              <a:t> </a:t>
            </a:r>
            <a:r>
              <a:rPr lang="de-DE" altLang="de-DE" sz="1800" dirty="0" err="1"/>
              <a:t>clearly</a:t>
            </a:r>
            <a:endParaRPr lang="de-DE" altLang="de-DE" sz="1800" dirty="0"/>
          </a:p>
          <a:p>
            <a:pPr lvl="1">
              <a:lnSpc>
                <a:spcPct val="120000"/>
              </a:lnSpc>
              <a:spcBef>
                <a:spcPct val="0"/>
              </a:spcBef>
            </a:pPr>
            <a:r>
              <a:rPr lang="de-DE" altLang="de-DE" sz="1800" dirty="0" err="1"/>
              <a:t>good</a:t>
            </a:r>
            <a:r>
              <a:rPr lang="de-DE" altLang="de-DE" sz="1800" dirty="0"/>
              <a:t> </a:t>
            </a:r>
            <a:r>
              <a:rPr lang="de-DE" altLang="de-DE" sz="1800" dirty="0" err="1"/>
              <a:t>body</a:t>
            </a:r>
            <a:r>
              <a:rPr lang="de-DE" altLang="de-DE" sz="1800" dirty="0"/>
              <a:t> </a:t>
            </a:r>
            <a:r>
              <a:rPr lang="de-DE" altLang="de-DE" sz="1800" dirty="0" err="1"/>
              <a:t>language</a:t>
            </a:r>
            <a:endParaRPr lang="de-DE" altLang="de-DE" sz="1800" dirty="0"/>
          </a:p>
          <a:p>
            <a:pPr lvl="1">
              <a:lnSpc>
                <a:spcPct val="120000"/>
              </a:lnSpc>
              <a:spcBef>
                <a:spcPct val="0"/>
              </a:spcBef>
            </a:pPr>
            <a:r>
              <a:rPr lang="de-DE" altLang="de-DE" sz="1800" dirty="0" err="1"/>
              <a:t>keep</a:t>
            </a:r>
            <a:r>
              <a:rPr lang="de-DE" altLang="de-DE" sz="1800" dirty="0"/>
              <a:t> </a:t>
            </a:r>
            <a:r>
              <a:rPr lang="de-DE" altLang="de-DE" sz="1800" dirty="0" err="1"/>
              <a:t>eye</a:t>
            </a:r>
            <a:r>
              <a:rPr lang="de-DE" altLang="de-DE" sz="1800" dirty="0"/>
              <a:t> </a:t>
            </a:r>
            <a:r>
              <a:rPr lang="de-DE" altLang="de-DE" sz="1800" dirty="0" err="1"/>
              <a:t>contact</a:t>
            </a:r>
            <a:endParaRPr lang="de-DE" altLang="de-DE" sz="1800" dirty="0"/>
          </a:p>
          <a:p>
            <a:pPr lvl="1">
              <a:lnSpc>
                <a:spcPct val="120000"/>
              </a:lnSpc>
              <a:spcBef>
                <a:spcPct val="0"/>
              </a:spcBef>
            </a:pPr>
            <a:r>
              <a:rPr lang="de-DE" altLang="de-DE" sz="1800" dirty="0" err="1"/>
              <a:t>audience</a:t>
            </a:r>
            <a:r>
              <a:rPr lang="de-DE" altLang="de-DE" sz="1800" dirty="0"/>
              <a:t> </a:t>
            </a:r>
            <a:r>
              <a:rPr lang="de-DE" altLang="de-DE" sz="1800" dirty="0" err="1"/>
              <a:t>involvement</a:t>
            </a:r>
            <a:endParaRPr lang="de-DE" altLang="de-DE" sz="1800" dirty="0"/>
          </a:p>
          <a:p>
            <a:pPr lvl="1">
              <a:lnSpc>
                <a:spcPct val="120000"/>
              </a:lnSpc>
              <a:spcBef>
                <a:spcPct val="0"/>
              </a:spcBef>
            </a:pPr>
            <a:r>
              <a:rPr lang="de-DE" altLang="de-DE" sz="1800" dirty="0" err="1"/>
              <a:t>good</a:t>
            </a:r>
            <a:r>
              <a:rPr lang="de-DE" altLang="de-DE" sz="1800" dirty="0"/>
              <a:t> </a:t>
            </a:r>
            <a:r>
              <a:rPr lang="de-DE" altLang="de-DE" sz="1800" dirty="0" err="1"/>
              <a:t>visuals</a:t>
            </a:r>
            <a:endParaRPr lang="de-DE" altLang="de-DE" sz="1800" dirty="0"/>
          </a:p>
          <a:p>
            <a:pPr lvl="1">
              <a:lnSpc>
                <a:spcPct val="120000"/>
              </a:lnSpc>
              <a:spcBef>
                <a:spcPct val="0"/>
              </a:spcBef>
            </a:pPr>
            <a:r>
              <a:rPr lang="de-DE" altLang="de-DE" sz="1800" dirty="0" err="1" smtClean="0"/>
              <a:t>good</a:t>
            </a:r>
            <a:r>
              <a:rPr lang="de-DE" altLang="de-DE" sz="1800" dirty="0" smtClean="0"/>
              <a:t> </a:t>
            </a:r>
            <a:r>
              <a:rPr lang="de-DE" altLang="de-DE" sz="1800" dirty="0" err="1" smtClean="0"/>
              <a:t>preparation</a:t>
            </a:r>
            <a:endParaRPr lang="de-DE" altLang="de-DE" sz="1800" dirty="0" smtClean="0"/>
          </a:p>
          <a:p>
            <a:pPr lvl="1">
              <a:lnSpc>
                <a:spcPct val="120000"/>
              </a:lnSpc>
              <a:spcBef>
                <a:spcPct val="0"/>
              </a:spcBef>
            </a:pPr>
            <a:r>
              <a:rPr lang="de-DE" altLang="de-DE" sz="1800" dirty="0" err="1" smtClean="0">
                <a:solidFill>
                  <a:schemeClr val="bg1"/>
                </a:solidFill>
              </a:rPr>
              <a:t>make</a:t>
            </a:r>
            <a:r>
              <a:rPr lang="de-DE" altLang="de-DE" sz="1800" dirty="0" smtClean="0">
                <a:solidFill>
                  <a:schemeClr val="bg1"/>
                </a:solidFill>
              </a:rPr>
              <a:t> </a:t>
            </a:r>
            <a:r>
              <a:rPr lang="de-DE" altLang="de-DE" sz="1800" dirty="0" err="1">
                <a:solidFill>
                  <a:schemeClr val="bg1"/>
                </a:solidFill>
              </a:rPr>
              <a:t>it</a:t>
            </a:r>
            <a:r>
              <a:rPr lang="de-DE" altLang="de-DE" sz="1800" dirty="0">
                <a:solidFill>
                  <a:schemeClr val="bg1"/>
                </a:solidFill>
              </a:rPr>
              <a:t> </a:t>
            </a:r>
            <a:r>
              <a:rPr lang="de-DE" altLang="de-DE" sz="1800" dirty="0" err="1">
                <a:solidFill>
                  <a:schemeClr val="bg1"/>
                </a:solidFill>
              </a:rPr>
              <a:t>interesting</a:t>
            </a:r>
            <a:r>
              <a:rPr lang="de-DE" altLang="de-DE" sz="1800" dirty="0">
                <a:solidFill>
                  <a:schemeClr val="bg1"/>
                </a:solidFill>
              </a:rPr>
              <a:t> </a:t>
            </a:r>
            <a:r>
              <a:rPr lang="de-DE" altLang="de-DE" sz="1800" dirty="0" err="1">
                <a:solidFill>
                  <a:schemeClr val="bg1"/>
                </a:solidFill>
              </a:rPr>
              <a:t>and</a:t>
            </a:r>
            <a:r>
              <a:rPr lang="de-DE" altLang="de-DE" sz="1800" dirty="0">
                <a:solidFill>
                  <a:schemeClr val="bg1"/>
                </a:solidFill>
              </a:rPr>
              <a:t> relevant</a:t>
            </a:r>
          </a:p>
          <a:p>
            <a:pPr lvl="1">
              <a:lnSpc>
                <a:spcPct val="120000"/>
              </a:lnSpc>
              <a:spcBef>
                <a:spcPct val="0"/>
              </a:spcBef>
            </a:pPr>
            <a:r>
              <a:rPr lang="de-DE" altLang="de-DE" sz="1800" dirty="0" err="1"/>
              <a:t>intonation</a:t>
            </a:r>
            <a:endParaRPr lang="de-DE" altLang="de-DE" sz="1800" dirty="0"/>
          </a:p>
          <a:p>
            <a:pPr algn="l">
              <a:lnSpc>
                <a:spcPts val="1800"/>
              </a:lnSpc>
              <a:buFontTx/>
              <a:buChar char="-"/>
            </a:pPr>
            <a:endParaRPr lang="de-DE" dirty="0">
              <a:solidFill>
                <a:schemeClr val="bg1">
                  <a:lumMod val="50000"/>
                </a:schemeClr>
              </a:solidFill>
            </a:endParaRPr>
          </a:p>
          <a:p>
            <a:pPr algn="l">
              <a:lnSpc>
                <a:spcPts val="1800"/>
              </a:lnSpc>
              <a:buFontTx/>
              <a:buChar char="-"/>
            </a:pPr>
            <a:endParaRPr lang="de-DE" dirty="0" smtClean="0">
              <a:solidFill>
                <a:schemeClr val="bg1">
                  <a:lumMod val="50000"/>
                </a:schemeClr>
              </a:solidFill>
            </a:endParaRPr>
          </a:p>
          <a:p>
            <a:pPr algn="l">
              <a:lnSpc>
                <a:spcPts val="1800"/>
              </a:lnSpc>
              <a:buFontTx/>
              <a:buChar char="-"/>
            </a:pPr>
            <a:endParaRPr lang="de-DE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14" name="Textplatzhalter 5">
            <a:extLst>
              <a:ext uri="{FF2B5EF4-FFF2-40B4-BE49-F238E27FC236}">
                <a16:creationId xmlns:a16="http://schemas.microsoft.com/office/drawing/2014/main" xmlns="" id="{E483239E-B7FF-4473-BEC7-2F375E16713D}"/>
              </a:ext>
            </a:extLst>
          </p:cNvPr>
          <p:cNvSpPr txBox="1">
            <a:spLocks/>
          </p:cNvSpPr>
          <p:nvPr/>
        </p:nvSpPr>
        <p:spPr>
          <a:xfrm>
            <a:off x="6096000" y="2501342"/>
            <a:ext cx="4830846" cy="2662842"/>
          </a:xfrm>
          <a:prstGeom prst="rect">
            <a:avLst/>
          </a:prstGeom>
        </p:spPr>
        <p:txBody>
          <a:bodyPr/>
          <a:lstStyle>
            <a:lvl1pPr marL="285750" indent="-285750" algn="ctr" defTabSz="914400" rtl="0" eaLnBrk="1" latinLnBrk="0" hangingPunct="1">
              <a:lnSpc>
                <a:spcPts val="2400"/>
              </a:lnSpc>
              <a:spcBef>
                <a:spcPts val="1000"/>
              </a:spcBef>
              <a:buSzPct val="65000"/>
              <a:buFontTx/>
              <a:buBlip>
                <a:blip r:embed="rId4"/>
              </a:buBlip>
              <a:tabLst>
                <a:tab pos="1704975" algn="l"/>
              </a:tabLst>
              <a:defRPr lang="de-DE" sz="1600" kern="1200" dirty="0" err="1" smtClean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lang="de-DE" sz="1600" kern="1200" dirty="0" smtClean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+mn-cs"/>
              </a:defRPr>
            </a:lvl2pPr>
            <a:lvl3pPr marL="914400" marR="0" indent="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de-DE" sz="1600" kern="1200" dirty="0" smtClean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lang="de-DE" sz="1600" kern="1200" dirty="0" smtClean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lang="de-DE" sz="1600" kern="12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ts val="1800"/>
              </a:lnSpc>
            </a:pPr>
            <a:endParaRPr lang="de-DE" dirty="0">
              <a:solidFill>
                <a:srgbClr val="343434"/>
              </a:solidFill>
            </a:endParaRPr>
          </a:p>
        </p:txBody>
      </p:sp>
      <p:sp>
        <p:nvSpPr>
          <p:cNvPr id="3" name="Textfeld 2"/>
          <p:cNvSpPr txBox="1"/>
          <p:nvPr/>
        </p:nvSpPr>
        <p:spPr>
          <a:xfrm>
            <a:off x="6095998" y="2449583"/>
            <a:ext cx="3927895" cy="30285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1">
              <a:lnSpc>
                <a:spcPct val="120000"/>
              </a:lnSpc>
              <a:spcBef>
                <a:spcPct val="0"/>
              </a:spcBef>
            </a:pPr>
            <a:r>
              <a:rPr lang="de-DE" altLang="de-DE" sz="1600" dirty="0" err="1"/>
              <a:t>pronunciation</a:t>
            </a:r>
            <a:endParaRPr lang="de-DE" altLang="de-DE" sz="1600" dirty="0"/>
          </a:p>
          <a:p>
            <a:pPr lvl="1">
              <a:lnSpc>
                <a:spcPct val="120000"/>
              </a:lnSpc>
              <a:spcBef>
                <a:spcPct val="0"/>
              </a:spcBef>
            </a:pPr>
            <a:r>
              <a:rPr lang="de-DE" altLang="de-DE" sz="1600" dirty="0" err="1"/>
              <a:t>be</a:t>
            </a:r>
            <a:r>
              <a:rPr lang="de-DE" altLang="de-DE" sz="1600" dirty="0"/>
              <a:t> </a:t>
            </a:r>
            <a:r>
              <a:rPr lang="de-DE" altLang="de-DE" sz="1600" dirty="0" err="1"/>
              <a:t>able</a:t>
            </a:r>
            <a:r>
              <a:rPr lang="de-DE" altLang="de-DE" sz="1600" dirty="0"/>
              <a:t> </a:t>
            </a:r>
            <a:r>
              <a:rPr lang="de-DE" altLang="de-DE" sz="1600" dirty="0" err="1"/>
              <a:t>to</a:t>
            </a:r>
            <a:r>
              <a:rPr lang="de-DE" altLang="de-DE" sz="1600" dirty="0"/>
              <a:t> </a:t>
            </a:r>
            <a:r>
              <a:rPr lang="de-DE" altLang="de-DE" sz="1600" dirty="0" err="1"/>
              <a:t>say</a:t>
            </a:r>
            <a:r>
              <a:rPr lang="de-DE" altLang="de-DE" sz="1600" dirty="0"/>
              <a:t> </a:t>
            </a:r>
            <a:r>
              <a:rPr lang="de-DE" altLang="de-DE" sz="1600" dirty="0" err="1"/>
              <a:t>it</a:t>
            </a:r>
            <a:r>
              <a:rPr lang="de-DE" altLang="de-DE" sz="1600" dirty="0"/>
              <a:t> in simple </a:t>
            </a:r>
            <a:r>
              <a:rPr lang="de-DE" altLang="de-DE" sz="1600" dirty="0" err="1" smtClean="0"/>
              <a:t>words</a:t>
            </a:r>
            <a:endParaRPr lang="de-DE" altLang="de-DE" sz="1600" dirty="0" smtClean="0"/>
          </a:p>
          <a:p>
            <a:pPr lvl="1">
              <a:lnSpc>
                <a:spcPct val="120000"/>
              </a:lnSpc>
              <a:spcBef>
                <a:spcPct val="0"/>
              </a:spcBef>
            </a:pPr>
            <a:r>
              <a:rPr lang="de-DE" altLang="de-DE" sz="1600" dirty="0"/>
              <a:t>easy </a:t>
            </a:r>
            <a:r>
              <a:rPr lang="de-DE" altLang="de-DE" sz="1600" dirty="0" err="1"/>
              <a:t>to</a:t>
            </a:r>
            <a:r>
              <a:rPr lang="de-DE" altLang="de-DE" sz="1600" dirty="0"/>
              <a:t> follow</a:t>
            </a:r>
          </a:p>
          <a:p>
            <a:pPr lvl="1">
              <a:lnSpc>
                <a:spcPct val="120000"/>
              </a:lnSpc>
              <a:spcBef>
                <a:spcPct val="0"/>
              </a:spcBef>
            </a:pPr>
            <a:r>
              <a:rPr lang="de-DE" altLang="de-DE" sz="1600" dirty="0" err="1"/>
              <a:t>no</a:t>
            </a:r>
            <a:r>
              <a:rPr lang="de-DE" altLang="de-DE" sz="1600" dirty="0"/>
              <a:t> funny </a:t>
            </a:r>
            <a:r>
              <a:rPr lang="de-DE" altLang="de-DE" sz="1600" dirty="0" err="1"/>
              <a:t>gestures</a:t>
            </a:r>
            <a:endParaRPr lang="de-DE" altLang="de-DE" sz="1600" dirty="0"/>
          </a:p>
          <a:p>
            <a:pPr lvl="1">
              <a:lnSpc>
                <a:spcPct val="120000"/>
              </a:lnSpc>
              <a:spcBef>
                <a:spcPct val="0"/>
              </a:spcBef>
            </a:pPr>
            <a:r>
              <a:rPr lang="de-DE" altLang="de-DE" sz="1600" dirty="0" err="1"/>
              <a:t>use</a:t>
            </a:r>
            <a:r>
              <a:rPr lang="de-DE" altLang="de-DE" sz="1600" dirty="0"/>
              <a:t> </a:t>
            </a:r>
            <a:r>
              <a:rPr lang="de-DE" altLang="de-DE" sz="1600" dirty="0" err="1"/>
              <a:t>of</a:t>
            </a:r>
            <a:r>
              <a:rPr lang="de-DE" altLang="de-DE" sz="1600" dirty="0"/>
              <a:t> </a:t>
            </a:r>
            <a:r>
              <a:rPr lang="de-DE" altLang="de-DE" sz="1600" dirty="0" err="1"/>
              <a:t>pauses</a:t>
            </a:r>
            <a:endParaRPr lang="de-DE" altLang="de-DE" sz="1600" dirty="0"/>
          </a:p>
          <a:p>
            <a:pPr lvl="1">
              <a:lnSpc>
                <a:spcPct val="120000"/>
              </a:lnSpc>
              <a:spcBef>
                <a:spcPct val="0"/>
              </a:spcBef>
            </a:pPr>
            <a:r>
              <a:rPr lang="de-DE" altLang="de-DE" sz="1600" dirty="0"/>
              <a:t>…</a:t>
            </a:r>
          </a:p>
          <a:p>
            <a:pPr lvl="1">
              <a:lnSpc>
                <a:spcPct val="120000"/>
              </a:lnSpc>
              <a:spcBef>
                <a:spcPct val="0"/>
              </a:spcBef>
            </a:pPr>
            <a:r>
              <a:rPr lang="de-DE" altLang="de-DE" sz="1600" dirty="0"/>
              <a:t>…</a:t>
            </a:r>
          </a:p>
          <a:p>
            <a:pPr lvl="1">
              <a:lnSpc>
                <a:spcPct val="120000"/>
              </a:lnSpc>
              <a:spcBef>
                <a:spcPct val="0"/>
              </a:spcBef>
            </a:pPr>
            <a:endParaRPr lang="de-DE" altLang="de-DE" sz="1600" dirty="0" smtClean="0"/>
          </a:p>
          <a:p>
            <a:pPr lvl="1">
              <a:lnSpc>
                <a:spcPct val="120000"/>
              </a:lnSpc>
              <a:spcBef>
                <a:spcPct val="0"/>
              </a:spcBef>
            </a:pPr>
            <a:endParaRPr lang="de-DE" altLang="de-DE" sz="1600" dirty="0"/>
          </a:p>
          <a:p>
            <a:endParaRPr lang="de-DE" dirty="0"/>
          </a:p>
        </p:txBody>
      </p:sp>
      <p:pic>
        <p:nvPicPr>
          <p:cNvPr id="5" name="Audio 4">
            <a:hlinkClick r:id="" action="ppaction://media"/>
          </p:cNvPr>
          <p:cNvPicPr>
            <a:picLocks noChangeAspect="1"/>
          </p:cNvPicPr>
          <p:nvPr>
            <a:audi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5"/>
          <a:stretch>
            <a:fillRect/>
          </a:stretch>
        </p:blipFill>
        <p:spPr>
          <a:xfrm>
            <a:off x="11488738" y="6154738"/>
            <a:ext cx="487362" cy="4873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541464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16561"/>
    </mc:Choice>
    <mc:Fallback xmlns="">
      <p:transition spd="slow" advTm="16561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 isNarration="1">
              <p:cMediaNode vol="80000" showWhenStopped="0">
                <p:cTn id="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5"/>
                </p:tgtEl>
              </p:cMediaNode>
            </p:audio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AQ0A7rBhk.9fLWeu.fED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AQ0A7rBhk.9fLWeu.fEDQ"/>
</p:tagLst>
</file>

<file path=ppt/theme/theme1.xml><?xml version="1.0" encoding="utf-8"?>
<a:theme xmlns:a="http://schemas.openxmlformats.org/drawingml/2006/main" name="TH AB">
  <a:themeElements>
    <a:clrScheme name="TH Aschaffenburg">
      <a:dk1>
        <a:srgbClr val="5E5E5E"/>
      </a:dk1>
      <a:lt1>
        <a:srgbClr val="FFFFFF"/>
      </a:lt1>
      <a:dk2>
        <a:srgbClr val="00A1E3"/>
      </a:dk2>
      <a:lt2>
        <a:srgbClr val="99D9F4"/>
      </a:lt2>
      <a:accent1>
        <a:srgbClr val="142F4E"/>
      </a:accent1>
      <a:accent2>
        <a:srgbClr val="E1D6BC"/>
      </a:accent2>
      <a:accent3>
        <a:srgbClr val="66C7EE"/>
      </a:accent3>
      <a:accent4>
        <a:srgbClr val="9E9E9E"/>
      </a:accent4>
      <a:accent5>
        <a:srgbClr val="CCECF9"/>
      </a:accent5>
      <a:accent6>
        <a:srgbClr val="E9E9E9"/>
      </a:accent6>
      <a:hlink>
        <a:srgbClr val="7E7E7E"/>
      </a:hlink>
      <a:folHlink>
        <a:srgbClr val="33B4E9"/>
      </a:folHlink>
    </a:clrScheme>
    <a:fontScheme name="Custom 5">
      <a:majorFont>
        <a:latin typeface="Viga"/>
        <a:ea typeface=""/>
        <a:cs typeface=""/>
      </a:majorFont>
      <a:minorFont>
        <a:latin typeface="Signika Negative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1040</Words>
  <Application>Microsoft Office PowerPoint</Application>
  <PresentationFormat>Benutzerdefiniert</PresentationFormat>
  <Paragraphs>411</Paragraphs>
  <Slides>23</Slides>
  <Notes>1</Notes>
  <HiddenSlides>0</HiddenSlides>
  <MMClips>23</MMClips>
  <ScaleCrop>false</ScaleCrop>
  <HeadingPairs>
    <vt:vector size="4" baseType="variant">
      <vt:variant>
        <vt:lpstr>Design</vt:lpstr>
      </vt:variant>
      <vt:variant>
        <vt:i4>1</vt:i4>
      </vt:variant>
      <vt:variant>
        <vt:lpstr>Folientitel</vt:lpstr>
      </vt:variant>
      <vt:variant>
        <vt:i4>23</vt:i4>
      </vt:variant>
    </vt:vector>
  </HeadingPairs>
  <TitlesOfParts>
    <vt:vector size="24" baseType="lpstr">
      <vt:lpstr>TH AB</vt:lpstr>
      <vt:lpstr>English III</vt:lpstr>
      <vt:lpstr>English III</vt:lpstr>
      <vt:lpstr>English III</vt:lpstr>
      <vt:lpstr>English III</vt:lpstr>
      <vt:lpstr>English III</vt:lpstr>
      <vt:lpstr>English III</vt:lpstr>
      <vt:lpstr>English III</vt:lpstr>
      <vt:lpstr>English III</vt:lpstr>
      <vt:lpstr>English III</vt:lpstr>
      <vt:lpstr>English III</vt:lpstr>
      <vt:lpstr>English III</vt:lpstr>
      <vt:lpstr>English III</vt:lpstr>
      <vt:lpstr>English III</vt:lpstr>
      <vt:lpstr>English III</vt:lpstr>
      <vt:lpstr>English III</vt:lpstr>
      <vt:lpstr>English III</vt:lpstr>
      <vt:lpstr>English III</vt:lpstr>
      <vt:lpstr>English III</vt:lpstr>
      <vt:lpstr>English III</vt:lpstr>
      <vt:lpstr>English III</vt:lpstr>
      <vt:lpstr>English III</vt:lpstr>
      <vt:lpstr>English III</vt:lpstr>
      <vt:lpstr>English III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INKPPT Adobe</dc:creator>
  <cp:lastModifiedBy>Krauße, Sylvana</cp:lastModifiedBy>
  <cp:revision>440</cp:revision>
  <dcterms:created xsi:type="dcterms:W3CDTF">2018-09-08T07:02:11Z</dcterms:created>
  <dcterms:modified xsi:type="dcterms:W3CDTF">2021-09-28T07:07:23Z</dcterms:modified>
</cp:coreProperties>
</file>